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9"/>
  </p:notesMasterIdLst>
  <p:sldIdLst>
    <p:sldId id="2146845634" r:id="rId6"/>
    <p:sldId id="2146845580" r:id="rId7"/>
    <p:sldId id="2146845588" r:id="rId8"/>
    <p:sldId id="256" r:id="rId9"/>
    <p:sldId id="2146845559" r:id="rId10"/>
    <p:sldId id="2146845611" r:id="rId11"/>
    <p:sldId id="2146845612" r:id="rId12"/>
    <p:sldId id="2146845615" r:id="rId13"/>
    <p:sldId id="2146845613" r:id="rId14"/>
    <p:sldId id="2146845614" r:id="rId15"/>
    <p:sldId id="2146845619" r:id="rId16"/>
    <p:sldId id="2146845623" r:id="rId17"/>
    <p:sldId id="2146845629" r:id="rId18"/>
  </p:sldIdLst>
  <p:sldSz cx="12192000" cy="6858000"/>
  <p:notesSz cx="6858000" cy="9144000"/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u Isabelle (Ext.)" initials="NI(" lastIdx="1" clrIdx="0">
    <p:extLst>
      <p:ext uri="{19B8F6BF-5375-455C-9EA6-DF929625EA0E}">
        <p15:presenceInfo xmlns:p15="http://schemas.microsoft.com/office/powerpoint/2012/main" userId="S::VVW357@ores.be::d5842807-f05c-4c95-a85b-15a6dba12fc1" providerId="AD"/>
      </p:ext>
    </p:extLst>
  </p:cmAuthor>
  <p:cmAuthor id="2" name="Vangulick David" initials="VD" lastIdx="7" clrIdx="1">
    <p:extLst>
      <p:ext uri="{19B8F6BF-5375-455C-9EA6-DF929625EA0E}">
        <p15:presenceInfo xmlns:p15="http://schemas.microsoft.com/office/powerpoint/2012/main" userId="S::bgj448@ores.be::2981c527-a31b-47ec-b4e7-242cb11aa029" providerId="AD"/>
      </p:ext>
    </p:extLst>
  </p:cmAuthor>
  <p:cmAuthor id="3" name="GHYSENS Jean-Denis" initials="GJ" lastIdx="15" clrIdx="2">
    <p:extLst>
      <p:ext uri="{19B8F6BF-5375-455C-9EA6-DF929625EA0E}">
        <p15:presenceInfo xmlns:p15="http://schemas.microsoft.com/office/powerpoint/2012/main" userId="S::jean-denis.ghysens_resa.be#ext#@oresonline.onmicrosoft.com::87e04135-6455-4cb7-a99e-ca0f4df7fba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8AC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90" autoAdjust="0"/>
    <p:restoredTop sz="94660"/>
  </p:normalViewPr>
  <p:slideViewPr>
    <p:cSldViewPr snapToGrid="0">
      <p:cViewPr varScale="1">
        <p:scale>
          <a:sx n="78" d="100"/>
          <a:sy n="78" d="100"/>
        </p:scale>
        <p:origin x="811" y="4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0D4B1C-4A23-47F4-921E-CEFCFDFDA238}" type="datetimeFigureOut">
              <a:t>20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4B21A6-4E82-4F2B-BD77-17160395F0A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049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3B6991-AEED-4CF6-9E1D-8456FC2108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38BD34-56E9-49B9-8A24-5355913D15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4447AD-1218-43A0-88A8-3120D6730F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94B762-3FF0-4ADC-9533-877739732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1D386-AE4D-46BB-A7A5-DB0B697AFB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1798392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A975C-DC07-4263-B1CD-5DB894327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8CB67C-EC8B-4315-AD16-ACA73764C7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1AE887-431F-4F66-BB70-E706DB170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DA1598-EC72-4624-91F1-088780113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2463FE-0938-4FE8-8B92-F89CBA00BD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18530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D5471D-77B1-4861-8E4A-FD636180ED1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124A3F5-249B-45C3-A7AB-009D270C9A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A227A1-46B4-4A47-951C-49BB3520CD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4DF89E-8F9D-4FD4-B03E-E1224BF7F8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35C8DD-C5AF-4A27-B6E1-EE0E18E51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93980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:\06_0046\05_multimedia\05_projets\05_Identite_visuelle\GRDU\Powerpoint\2017\final\images_modele_ppt\ORES_dia_contenu_150dpi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60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64000" y="1680001"/>
            <a:ext cx="10752000" cy="4603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2400"/>
              </a:spcBef>
              <a:buFontTx/>
              <a:buNone/>
              <a:defRPr sz="2400" baseline="0"/>
            </a:lvl1pPr>
            <a:lvl2pPr marL="1151971" indent="0">
              <a:spcBef>
                <a:spcPts val="800"/>
              </a:spcBef>
              <a:buFontTx/>
              <a:buNone/>
              <a:defRPr sz="2133">
                <a:solidFill>
                  <a:schemeClr val="tx1"/>
                </a:solidFill>
              </a:defRPr>
            </a:lvl2pPr>
            <a:lvl3pPr marL="2015950" indent="0">
              <a:spcBef>
                <a:spcPts val="80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fr-FR"/>
              <a:t>Développez votre message en maximum cinq points. </a:t>
            </a:r>
            <a:br>
              <a:rPr lang="fr-FR"/>
            </a:br>
            <a:r>
              <a:rPr lang="fr-FR"/>
              <a:t>Répartissez-les sur plusieurs diapositives si besoin.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>
          <a:xfrm>
            <a:off x="864000" y="336000"/>
            <a:ext cx="10752000" cy="816000"/>
          </a:xfrm>
        </p:spPr>
        <p:txBody>
          <a:bodyPr lIns="0" tIns="0" rIns="0" bIns="0" anchor="b" anchorCtr="0">
            <a:noAutofit/>
          </a:bodyPr>
          <a:lstStyle>
            <a:lvl1pPr algn="l">
              <a:defRPr sz="3200" baseline="0">
                <a:solidFill>
                  <a:srgbClr val="34B4E4"/>
                </a:solidFill>
                <a:latin typeface="+mj-lt"/>
              </a:defRPr>
            </a:lvl1pPr>
          </a:lstStyle>
          <a:p>
            <a:r>
              <a:rPr lang="fr-FR"/>
              <a:t>Exprimez votre message sous forme d’une phrase complète en maximum deux lignes</a:t>
            </a:r>
            <a:endParaRPr lang="fr-BE"/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576000" y="0"/>
            <a:ext cx="0" cy="1152000"/>
          </a:xfrm>
          <a:prstGeom prst="line">
            <a:avLst/>
          </a:prstGeom>
          <a:ln w="6350">
            <a:solidFill>
              <a:srgbClr val="B6C0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97"/>
          <p:cNvSpPr txBox="1">
            <a:spLocks noChangeArrowheads="1"/>
          </p:cNvSpPr>
          <p:nvPr userDrawn="1"/>
        </p:nvSpPr>
        <p:spPr bwMode="auto">
          <a:xfrm>
            <a:off x="10896533" y="6564841"/>
            <a:ext cx="1219200" cy="227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0000" tIns="62400" rIns="120000" bIns="62400">
            <a:spAutoFit/>
          </a:bodyPr>
          <a:lstStyle>
            <a:lvl1pPr eaLnBrk="0" hangingPunct="0">
              <a:defRPr sz="1200">
                <a:solidFill>
                  <a:srgbClr val="808080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rgbClr val="808080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rgbClr val="808080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rgbClr val="808080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rgbClr val="80808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80808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80808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80808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808080"/>
                </a:solidFill>
                <a:latin typeface="Arial" charset="0"/>
              </a:defRPr>
            </a:lvl9pPr>
          </a:lstStyle>
          <a:p>
            <a:pPr algn="r">
              <a:lnSpc>
                <a:spcPct val="80000"/>
              </a:lnSpc>
              <a:spcBef>
                <a:spcPct val="50000"/>
              </a:spcBef>
              <a:defRPr/>
            </a:pPr>
            <a:fld id="{C935249E-929F-4550-94BF-1684E528CAF7}" type="slidenum">
              <a:rPr lang="nl-BE" sz="800" b="0" i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pPr algn="r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nl-BE" sz="800" b="0" i="0" kern="120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9217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'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W:\06_0046\05_multimedia\05_projets\05_Identite_visuelle\GRDU\Powerpoint\2017\final\images_modele_ppt\ORES_dia_intro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60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454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résentation - communication 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W:\06_0046\05_multimedia\05_projets\05_Identite_visuelle\GRDU\Powerpoint\2017\final\images_modele_ppt\ORES_dia_spot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016000" y="4579200"/>
            <a:ext cx="9024000" cy="345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>
                <a:solidFill>
                  <a:srgbClr val="57666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BE"/>
              <a:t>Cliquez pour ajouter un sous-titre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>
          <a:xfrm>
            <a:off x="2016000" y="2755200"/>
            <a:ext cx="9024000" cy="1248000"/>
          </a:xfrm>
        </p:spPr>
        <p:txBody>
          <a:bodyPr lIns="0" tIns="0" rIns="0" bIns="0" anchor="b" anchorCtr="0">
            <a:noAutofit/>
          </a:bodyPr>
          <a:lstStyle>
            <a:lvl1pPr algn="l">
              <a:defRPr sz="4533">
                <a:solidFill>
                  <a:srgbClr val="34B4E4"/>
                </a:solidFill>
              </a:defRPr>
            </a:lvl1pPr>
          </a:lstStyle>
          <a:p>
            <a:r>
              <a:rPr lang="fr-BE"/>
              <a:t>Cliquez pour ajouter un titre de présentation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 hasCustomPrompt="1"/>
          </p:nvPr>
        </p:nvSpPr>
        <p:spPr>
          <a:xfrm>
            <a:off x="2016000" y="5232000"/>
            <a:ext cx="9024000" cy="31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133" baseline="0">
                <a:solidFill>
                  <a:srgbClr val="57666F"/>
                </a:solidFill>
                <a:latin typeface="+mn-lt"/>
              </a:defRPr>
            </a:lvl1pPr>
          </a:lstStyle>
          <a:p>
            <a:pPr lvl="0"/>
            <a:r>
              <a:rPr lang="fr-BE"/>
              <a:t>Cliquez pour ajouter le nom de l’auteur</a:t>
            </a:r>
          </a:p>
        </p:txBody>
      </p:sp>
      <p:cxnSp>
        <p:nvCxnSpPr>
          <p:cNvPr id="18" name="Connecteur droit 17"/>
          <p:cNvCxnSpPr/>
          <p:nvPr userDrawn="1"/>
        </p:nvCxnSpPr>
        <p:spPr>
          <a:xfrm>
            <a:off x="2016000" y="4291200"/>
            <a:ext cx="9025003" cy="0"/>
          </a:xfrm>
          <a:prstGeom prst="line">
            <a:avLst/>
          </a:prstGeom>
          <a:ln w="6350">
            <a:solidFill>
              <a:srgbClr val="B6C0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11218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résentation - usage inter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W:\06_0046\05_multimedia\05_projets\05_Identite_visuelle\GRDU\Powerpoint\2017\final\images_modele_ppt\ORES_dia_spot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187" y="0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016000" y="4579200"/>
            <a:ext cx="9024000" cy="345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3200">
                <a:solidFill>
                  <a:srgbClr val="57666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BE"/>
              <a:t>Cliquez pour ajouter un sous-titre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>
          <a:xfrm>
            <a:off x="2016000" y="2755200"/>
            <a:ext cx="9024000" cy="1248000"/>
          </a:xfrm>
        </p:spPr>
        <p:txBody>
          <a:bodyPr lIns="0" tIns="0" rIns="0" bIns="0" anchor="b" anchorCtr="0">
            <a:noAutofit/>
          </a:bodyPr>
          <a:lstStyle>
            <a:lvl1pPr algn="l">
              <a:defRPr sz="4533">
                <a:solidFill>
                  <a:srgbClr val="34B4E4"/>
                </a:solidFill>
              </a:defRPr>
            </a:lvl1pPr>
          </a:lstStyle>
          <a:p>
            <a:r>
              <a:rPr lang="fr-BE"/>
              <a:t>Cliquez pour ajouter un titre de présentation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 hasCustomPrompt="1"/>
          </p:nvPr>
        </p:nvSpPr>
        <p:spPr>
          <a:xfrm>
            <a:off x="2016000" y="5232000"/>
            <a:ext cx="9024000" cy="31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133">
                <a:solidFill>
                  <a:srgbClr val="57666F"/>
                </a:solidFill>
                <a:latin typeface="+mn-lt"/>
              </a:defRPr>
            </a:lvl1pPr>
          </a:lstStyle>
          <a:p>
            <a:pPr lvl="0"/>
            <a:r>
              <a:rPr lang="fr-BE"/>
              <a:t>Cliquez pour ajouter le nom de l’auteur</a:t>
            </a:r>
          </a:p>
        </p:txBody>
      </p:sp>
      <p:cxnSp>
        <p:nvCxnSpPr>
          <p:cNvPr id="18" name="Connecteur droit 17"/>
          <p:cNvCxnSpPr/>
          <p:nvPr userDrawn="1"/>
        </p:nvCxnSpPr>
        <p:spPr>
          <a:xfrm>
            <a:off x="2016000" y="4291200"/>
            <a:ext cx="9025003" cy="0"/>
          </a:xfrm>
          <a:prstGeom prst="line">
            <a:avLst/>
          </a:prstGeom>
          <a:ln w="6350">
            <a:solidFill>
              <a:srgbClr val="B6C0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2" descr="W:\06_0046\07_identite_visuelle\01_outils\02_logos\logos_usage_interne\Confidentialité\Interne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8401" y="5899201"/>
            <a:ext cx="680496" cy="6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03334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présentation - confident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W:\06_0046\05_multimedia\05_projets\05_Identite_visuelle\GRDU\Powerpoint\2017\final\images_modele_ppt\ORES_dia_spot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2016000" y="4579200"/>
            <a:ext cx="9024000" cy="345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rgbClr val="57666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BE"/>
              <a:t>Cliquez pour ajouter un sous-titre</a:t>
            </a: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>
          <a:xfrm>
            <a:off x="2016000" y="2755200"/>
            <a:ext cx="9024000" cy="1248000"/>
          </a:xfrm>
        </p:spPr>
        <p:txBody>
          <a:bodyPr wrap="square" lIns="0" tIns="0" rIns="0" bIns="0" anchor="b" anchorCtr="0">
            <a:noAutofit/>
          </a:bodyPr>
          <a:lstStyle>
            <a:lvl1pPr algn="l">
              <a:defRPr sz="4533">
                <a:solidFill>
                  <a:srgbClr val="34B4E4"/>
                </a:solidFill>
              </a:defRPr>
            </a:lvl1pPr>
          </a:lstStyle>
          <a:p>
            <a:r>
              <a:rPr lang="fr-BE"/>
              <a:t>Cliquez pour ajouter un titre de présentation</a:t>
            </a:r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 hasCustomPrompt="1"/>
          </p:nvPr>
        </p:nvSpPr>
        <p:spPr>
          <a:xfrm>
            <a:off x="2016000" y="5232000"/>
            <a:ext cx="9024000" cy="312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buFontTx/>
              <a:buNone/>
              <a:defRPr sz="2133" baseline="0">
                <a:solidFill>
                  <a:srgbClr val="57666F"/>
                </a:solidFill>
                <a:latin typeface="+mn-lt"/>
              </a:defRPr>
            </a:lvl1pPr>
          </a:lstStyle>
          <a:p>
            <a:pPr lvl="0"/>
            <a:r>
              <a:rPr lang="fr-BE"/>
              <a:t>Cliquez pour ajouter le nom de l’auteur</a:t>
            </a:r>
          </a:p>
        </p:txBody>
      </p:sp>
      <p:cxnSp>
        <p:nvCxnSpPr>
          <p:cNvPr id="18" name="Connecteur droit 17"/>
          <p:cNvCxnSpPr/>
          <p:nvPr userDrawn="1"/>
        </p:nvCxnSpPr>
        <p:spPr>
          <a:xfrm>
            <a:off x="2016000" y="4291200"/>
            <a:ext cx="9025003" cy="0"/>
          </a:xfrm>
          <a:prstGeom prst="line">
            <a:avLst/>
          </a:prstGeom>
          <a:ln w="6350">
            <a:solidFill>
              <a:srgbClr val="B6C0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W:\06_0046\07_identite_visuelle\01_outils\02_logos\logos_usage_interne\Confidentialité\Confidentiel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8802" y="5899201"/>
            <a:ext cx="572175" cy="6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60816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W:\06_0046\05_multimedia\05_projets\05_Identite_visuelle\GRDU\Powerpoint\2017\final\images_modele_ppt\ORES_dia_spot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>
          <a:xfrm>
            <a:off x="2016000" y="2064000"/>
            <a:ext cx="9024000" cy="1104000"/>
          </a:xfrm>
        </p:spPr>
        <p:txBody>
          <a:bodyPr wrap="square" lIns="0" tIns="0" rIns="0" bIns="0" anchor="b" anchorCtr="0">
            <a:noAutofit/>
          </a:bodyPr>
          <a:lstStyle>
            <a:lvl1pPr algn="r">
              <a:defRPr sz="3733" baseline="0">
                <a:solidFill>
                  <a:srgbClr val="34B4E4"/>
                </a:solidFill>
              </a:defRPr>
            </a:lvl1pPr>
          </a:lstStyle>
          <a:p>
            <a:r>
              <a:rPr lang="fr-BE"/>
              <a:t>Cliquez pour ajouter un titre de chapitre ou de section</a:t>
            </a:r>
          </a:p>
        </p:txBody>
      </p:sp>
      <p:cxnSp>
        <p:nvCxnSpPr>
          <p:cNvPr id="18" name="Connecteur droit 17"/>
          <p:cNvCxnSpPr/>
          <p:nvPr userDrawn="1"/>
        </p:nvCxnSpPr>
        <p:spPr>
          <a:xfrm>
            <a:off x="1728000" y="3408000"/>
            <a:ext cx="9312000" cy="0"/>
          </a:xfrm>
          <a:prstGeom prst="line">
            <a:avLst/>
          </a:prstGeom>
          <a:ln w="6350">
            <a:solidFill>
              <a:srgbClr val="B6C0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3062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:\06_0046\05_multimedia\05_projets\05_Identite_visuelle\GRDU\Powerpoint\2017\final\images_modele_ppt\ORES_dia_contenu_150dpi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60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64000" y="1680001"/>
            <a:ext cx="10752000" cy="4603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2400"/>
              </a:spcBef>
              <a:buFontTx/>
              <a:buNone/>
              <a:defRPr sz="2400" baseline="0"/>
            </a:lvl1pPr>
            <a:lvl2pPr marL="1151971" indent="0">
              <a:spcBef>
                <a:spcPts val="800"/>
              </a:spcBef>
              <a:buFontTx/>
              <a:buNone/>
              <a:defRPr sz="2133">
                <a:solidFill>
                  <a:schemeClr val="tx1"/>
                </a:solidFill>
              </a:defRPr>
            </a:lvl2pPr>
            <a:lvl3pPr marL="2015950" indent="0">
              <a:spcBef>
                <a:spcPts val="800"/>
              </a:spcBef>
              <a:buFontTx/>
              <a:buNone/>
              <a:defRPr sz="1600">
                <a:solidFill>
                  <a:schemeClr val="tx1"/>
                </a:solidFill>
              </a:defRPr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fr-BE"/>
              <a:t>Développez votre message en maximum cinq points. </a:t>
            </a:r>
            <a:br>
              <a:rPr lang="fr-BE"/>
            </a:br>
            <a:r>
              <a:rPr lang="fr-BE"/>
              <a:t>Répartissez-les sur plusieurs diapositives si besoin.</a:t>
            </a:r>
          </a:p>
          <a:p>
            <a:pPr lvl="1"/>
            <a:r>
              <a:rPr lang="fr-BE"/>
              <a:t>Deuxième niveau</a:t>
            </a:r>
          </a:p>
          <a:p>
            <a:pPr lvl="2"/>
            <a:r>
              <a:rPr lang="fr-BE"/>
              <a:t>Troisième niveau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 hasCustomPrompt="1"/>
          </p:nvPr>
        </p:nvSpPr>
        <p:spPr>
          <a:xfrm>
            <a:off x="864000" y="336000"/>
            <a:ext cx="10752000" cy="816000"/>
          </a:xfrm>
        </p:spPr>
        <p:txBody>
          <a:bodyPr lIns="0" tIns="0" rIns="0" bIns="0" anchor="b" anchorCtr="0">
            <a:noAutofit/>
          </a:bodyPr>
          <a:lstStyle>
            <a:lvl1pPr algn="l">
              <a:defRPr sz="3200" baseline="0">
                <a:solidFill>
                  <a:srgbClr val="34B4E4"/>
                </a:solidFill>
                <a:latin typeface="+mj-lt"/>
              </a:defRPr>
            </a:lvl1pPr>
          </a:lstStyle>
          <a:p>
            <a:r>
              <a:rPr lang="fr-BE"/>
              <a:t>Exprimez votre message sous forme d’une phrase complète en maximum deux lignes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576000" y="0"/>
            <a:ext cx="0" cy="1152000"/>
          </a:xfrm>
          <a:prstGeom prst="line">
            <a:avLst/>
          </a:prstGeom>
          <a:ln w="6350">
            <a:solidFill>
              <a:srgbClr val="B6C0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DBF8C-B6F7-4FEA-A7F1-E3A189CD5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606474"/>
            <a:ext cx="2743200" cy="241001"/>
          </a:xfrm>
          <a:prstGeom prst="rect">
            <a:avLst/>
          </a:prstGeom>
        </p:spPr>
        <p:txBody>
          <a:bodyPr anchor="ctr"/>
          <a:lstStyle>
            <a:lvl1pPr algn="r">
              <a:defRPr sz="1467" i="0"/>
            </a:lvl1pPr>
          </a:lstStyle>
          <a:p>
            <a:fld id="{A69B5265-B742-4288-80A5-C77C4599884B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294986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contenu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:\06_0046\05_multimedia\05_projets\05_Identite_visuelle\GRDU\Powerpoint\2017\final\images_modele_ppt\ORES_dia_contenu_150dpi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60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864000" y="1680001"/>
            <a:ext cx="10752000" cy="4603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600"/>
              </a:spcBef>
              <a:buFontTx/>
              <a:buNone/>
              <a:defRPr sz="2400" baseline="0"/>
            </a:lvl1pPr>
            <a:lvl2pPr marL="1151971" indent="0">
              <a:spcBef>
                <a:spcPts val="800"/>
              </a:spcBef>
              <a:buFontTx/>
              <a:buNone/>
              <a:defRPr sz="2133">
                <a:solidFill>
                  <a:srgbClr val="57666F"/>
                </a:solidFill>
              </a:defRPr>
            </a:lvl2pPr>
            <a:lvl3pPr marL="2015950" indent="0">
              <a:spcBef>
                <a:spcPts val="800"/>
              </a:spcBef>
              <a:buFontTx/>
              <a:buNone/>
              <a:defRPr sz="1600">
                <a:solidFill>
                  <a:srgbClr val="57666F"/>
                </a:solidFill>
              </a:defRPr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fr-BE"/>
              <a:t>Cliquez pour ajouter du texte ou insérez des images</a:t>
            </a:r>
          </a:p>
          <a:p>
            <a:pPr lvl="1"/>
            <a:r>
              <a:rPr lang="fr-BE"/>
              <a:t>Deuxième niveau</a:t>
            </a:r>
          </a:p>
          <a:p>
            <a:pPr lvl="2"/>
            <a:r>
              <a:rPr lang="fr-BE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117180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E5849-A14C-4076-9FE4-3CEF519E7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8D89A7-DEC0-47F0-985B-C7414A4C7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4D95BB-AB08-48EC-9066-2280B4370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B931D-1172-43BE-8589-F0F96405E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AB82D3-7788-4312-A3AC-81AB844A7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075078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W:\06_0046\05_multimedia\05_projets\05_Identite_visuelle\GRDU\Powerpoint\2017\final\images_modele_ppt\ORES_dia_fin_150dpi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45859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FC8BB6E-F786-4FD6-BF6F-7953E6D8F0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20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E1393431-BDB6-4189-9DD4-E05557B933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375412"/>
          </a:xfrm>
        </p:spPr>
        <p:txBody>
          <a:bodyPr>
            <a:normAutofit/>
          </a:bodyPr>
          <a:lstStyle>
            <a:lvl1pPr>
              <a:defRPr sz="2400" b="1" cap="none" spc="0" baseline="0">
                <a:solidFill>
                  <a:srgbClr val="4D636F"/>
                </a:solidFill>
                <a:latin typeface="Graphik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4B7451C-A520-4152-954B-D4B5A51928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1000" y="756411"/>
            <a:ext cx="11430000" cy="457200"/>
          </a:xfrm>
        </p:spPr>
        <p:txBody>
          <a:bodyPr vert="horz" lIns="0" tIns="45720" rIns="0" bIns="0" rtlCol="0" anchor="t" anchorCtr="0">
            <a:normAutofit/>
          </a:bodyPr>
          <a:lstStyle>
            <a:lvl1pPr>
              <a:defRPr lang="en-US" sz="2000" b="1" cap="none" spc="0" baseline="0" smtClean="0">
                <a:solidFill>
                  <a:srgbClr val="34B4E3"/>
                </a:solidFill>
                <a:latin typeface="Graphik" panose="020B0503030202060203" pitchFamily="34" charset="0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>
              <a:lnSpc>
                <a:spcPct val="70000"/>
              </a:lnSpc>
              <a:spcBef>
                <a:spcPct val="0"/>
              </a:spcBef>
            </a:pPr>
            <a:r>
              <a:rPr lang="en-US"/>
              <a:t>Click to edit sub-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1D6F91-CFAA-4BDB-98E0-554685370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2462" y="-16620"/>
            <a:ext cx="177953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855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08DAAB-21DC-4A27-B3A8-1F014DCFA9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24E090-EB67-47A9-9EAF-2D7DD1EEED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B89BF-047B-4583-A013-C74823303F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F8401-FB9E-45F6-BDE8-34BB6840B9E8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4A0D53-2435-499B-A5A8-D4C6790F9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FB265-D142-4936-ACC5-CE831101A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D2D37-98B1-44FC-A720-7634293EDD04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55797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616D5-11D0-490F-8FDB-E2EC872B5F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3B7169-9E34-499C-A584-1E7D06DCD6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CE84A8-1F6B-4169-AA73-EEE370FCAF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F8401-FB9E-45F6-BDE8-34BB6840B9E8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7E81C-83A7-4518-8D97-6C402A2EBC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202436-534F-4990-8762-8F8672839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D2D37-98B1-44FC-A720-7634293EDD04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108153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98A794-C0E7-470F-B02F-A5A83171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4C3FED-41BB-4AEA-A9B4-51AF8541E0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0568C7-FC8B-42D6-9947-2AD126E3C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3DE435-2967-4885-BF84-9239D0564D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0DBAA8-9812-4130-8ED1-645AEEE2C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74367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6B16F-EF0C-41A9-8E82-7F8B61493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7A709B-21AB-4D0E-BEF0-7D6B2F5F0D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7D9C98-2F78-4BB4-BC3E-67D57F7F43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4FB6A4-45BE-4334-812E-D73B94048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0CB0C-AA2E-42D5-A742-BB0C2C393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E65093-4B49-48CA-9E9B-57614D0C3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175383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45F0D-3D82-4B3F-833A-DF6A420BB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5A8A52-7987-4AD8-9427-E937F51F78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6A46B6-3505-4462-81C9-427496497B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7048A3-6374-46B2-A83B-B432681D1A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C5715F-3426-4E40-9C02-85D4F68682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9955F4-A842-42E4-8EBD-041C22F36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180D326-34AC-4D3B-800B-5E38B5D5C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023487-7735-4C5A-BF90-3EEBB6E76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97384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BC630-EC5E-4680-94C0-A2493C5E5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EBB356-1C42-4EC9-A394-6A24CE8306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4BC12D-D902-44CB-BC93-3C76BFBB7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6A152E-8682-46C5-AD3E-582A4A1F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21436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0D9C5E-6401-415A-B81E-509E9E892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9A8426-F07A-4345-B860-C46ED9C8F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CFB1C7-AA43-4058-BB8F-4E9052E95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32675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6E20-8DA7-4F84-AAB1-218B6F211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CB294A-34A7-4D9A-AECC-28D81E96F8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21EED8-432F-46D4-8851-DEC9743526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EA3F2B-3A7B-4F1D-B2C1-0BC8317BD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9245EB-6C5C-4C99-AA1C-A4690835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B1CA4B-6581-4501-9117-1520915C6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94251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80F39-CC03-4AB9-AA60-372FC20BA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DA6867-436F-406E-A1F3-7843D641D5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4816C0-3AB5-4759-9D4B-B809B05B70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490574-7DBE-4E4E-B19E-91D9E5E10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1581F8-A6D7-4CB3-9DE5-EAF05D2A0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796ABB-B683-452B-AE0A-B61D9236F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47811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6812CF-86EC-4687-B718-0182DDD9D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BFFD0F-8AA4-4727-A53D-BD8EC3CDAA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0F681D-19AE-4649-A9A3-4484AC301A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B78265-D336-4C90-A6CA-6D1FE063EC15}" type="datetimeFigureOut">
              <a:rPr lang="fr-BE" smtClean="0"/>
              <a:t>20-10-22</a:t>
            </a:fld>
            <a:endParaRPr lang="fr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D34049-20C4-49ED-9903-3502046B30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ABAF8E-D373-46FD-8C9B-7989A8FDE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154E75-3266-4CCA-9F75-EC97442A55D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71104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5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B84AEC-85C9-453D-B378-26C30E31D4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4827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B84AEC-85C9-453D-B378-26C30E31D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W:\06_0046\05_multimedia\05_projets\05_Identite_visuelle\GRDU\Powerpoint\2017\final\images_modele_ppt\ORES_dia_contenu_150dpi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60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64000" y="336000"/>
            <a:ext cx="10752000" cy="81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BE"/>
              <a:t>Modifiez le style du titre</a:t>
            </a:r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>
          <a:xfrm>
            <a:off x="864000" y="1680001"/>
            <a:ext cx="10752000" cy="46032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ts val="12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6400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rgbClr val="57666F"/>
                </a:solidFill>
                <a:latin typeface="+mn-lt"/>
                <a:ea typeface="+mn-ea"/>
                <a:cs typeface="+mn-cs"/>
              </a:defRPr>
            </a:lvl2pPr>
            <a:lvl3pPr marL="1512000" indent="0" algn="l" defTabSz="914400" rtl="0" eaLnBrk="1" latinLnBrk="0" hangingPunct="1">
              <a:spcBef>
                <a:spcPts val="600"/>
              </a:spcBef>
              <a:buFontTx/>
              <a:buNone/>
              <a:defRPr sz="1200" kern="1200">
                <a:solidFill>
                  <a:srgbClr val="57666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2400"/>
              <a:t>Modifiez les styles du texte du masque</a:t>
            </a:r>
          </a:p>
          <a:p>
            <a:pPr lvl="1"/>
            <a:r>
              <a:rPr lang="fr-BE" sz="2133"/>
              <a:t>Deuxième niveau</a:t>
            </a:r>
          </a:p>
          <a:p>
            <a:pPr lvl="2"/>
            <a:r>
              <a:rPr lang="fr-BE" sz="1600"/>
              <a:t>Troisième niveau</a:t>
            </a:r>
          </a:p>
        </p:txBody>
      </p:sp>
      <p:cxnSp>
        <p:nvCxnSpPr>
          <p:cNvPr id="10" name="Connecteur droit 9"/>
          <p:cNvCxnSpPr/>
          <p:nvPr/>
        </p:nvCxnSpPr>
        <p:spPr>
          <a:xfrm>
            <a:off x="576000" y="0"/>
            <a:ext cx="0" cy="1152000"/>
          </a:xfrm>
          <a:prstGeom prst="line">
            <a:avLst/>
          </a:prstGeom>
          <a:ln w="6350">
            <a:solidFill>
              <a:srgbClr val="B6C0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3997CC5-C42C-45D3-B2DB-ABA7D1874FAE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-1391949" y="184621"/>
            <a:ext cx="1247949" cy="234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875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847" r:id="rId9"/>
    <p:sldLayoutId id="2147483856" r:id="rId10"/>
    <p:sldLayoutId id="2147483857" r:id="rId11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kern="1200">
          <a:solidFill>
            <a:srgbClr val="34B4E4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microsoft.com/office/2007/relationships/hdphoto" Target="../media/hdphoto2.wdp"/><Relationship Id="rId10" Type="http://schemas.openxmlformats.org/officeDocument/2006/relationships/image" Target="../media/image18.png"/><Relationship Id="rId4" Type="http://schemas.openxmlformats.org/officeDocument/2006/relationships/image" Target="../media/image14.png"/><Relationship Id="rId9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6" Type="http://schemas.openxmlformats.org/officeDocument/2006/relationships/image" Target="../media/image3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partner.fluvius.be/sites/fluvius/files/2022-06/investeringsplan-2023-2032.pdf" TargetMode="Externa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12014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42231B6-A00F-4974-BC45-46AB584A65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4000" y="1661421"/>
            <a:ext cx="10752000" cy="2780922"/>
          </a:xfrm>
        </p:spPr>
        <p:txBody>
          <a:bodyPr/>
          <a:lstStyle/>
          <a:p>
            <a:r>
              <a:rPr lang="fr-BE" dirty="0"/>
              <a:t>Par contre, les véhicules électriques peuvent aider à éviter des congestions causées en été par un afflux important de production « solaire » mais il faut une action des clients</a:t>
            </a:r>
          </a:p>
          <a:p>
            <a:endParaRPr lang="fr-B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D08015-0F98-426F-B7F4-246DFDEFD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ffets sur le réseau BT</a:t>
            </a:r>
          </a:p>
        </p:txBody>
      </p:sp>
      <p:sp>
        <p:nvSpPr>
          <p:cNvPr id="4" name="Arrow: Curved Down 3">
            <a:extLst>
              <a:ext uri="{FF2B5EF4-FFF2-40B4-BE49-F238E27FC236}">
                <a16:creationId xmlns:a16="http://schemas.microsoft.com/office/drawing/2014/main" id="{9B36F44C-0E33-4803-B90C-343D56A8E3A6}"/>
              </a:ext>
            </a:extLst>
          </p:cNvPr>
          <p:cNvSpPr/>
          <p:nvPr/>
        </p:nvSpPr>
        <p:spPr>
          <a:xfrm rot="21142081" flipH="1">
            <a:off x="6193035" y="3009343"/>
            <a:ext cx="1513108" cy="667791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7EA4489-0BC2-4604-9FE6-5701EB9A74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 l="60341"/>
          <a:stretch/>
        </p:blipFill>
        <p:spPr>
          <a:xfrm>
            <a:off x="6711267" y="2488964"/>
            <a:ext cx="3131073" cy="3588862"/>
          </a:xfrm>
          <a:prstGeom prst="rect">
            <a:avLst/>
          </a:pr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608B777-04CB-402C-BF6D-A9954B39DA59}"/>
              </a:ext>
            </a:extLst>
          </p:cNvPr>
          <p:cNvSpPr/>
          <p:nvPr/>
        </p:nvSpPr>
        <p:spPr>
          <a:xfrm>
            <a:off x="1988901" y="3876035"/>
            <a:ext cx="7853439" cy="1547290"/>
          </a:xfrm>
          <a:custGeom>
            <a:avLst/>
            <a:gdLst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66534 w 7831667"/>
              <a:gd name="connsiteY68" fmla="*/ 1075267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588934 w 7831667"/>
              <a:gd name="connsiteY89" fmla="*/ 1202267 h 1540934"/>
              <a:gd name="connsiteX90" fmla="*/ 4724400 w 7831667"/>
              <a:gd name="connsiteY90" fmla="*/ 1126067 h 1540934"/>
              <a:gd name="connsiteX91" fmla="*/ 4775200 w 7831667"/>
              <a:gd name="connsiteY91" fmla="*/ 1100667 h 1540934"/>
              <a:gd name="connsiteX92" fmla="*/ 4842934 w 7831667"/>
              <a:gd name="connsiteY92" fmla="*/ 1058334 h 1540934"/>
              <a:gd name="connsiteX93" fmla="*/ 4876800 w 7831667"/>
              <a:gd name="connsiteY93" fmla="*/ 1032934 h 1540934"/>
              <a:gd name="connsiteX94" fmla="*/ 4953000 w 7831667"/>
              <a:gd name="connsiteY94" fmla="*/ 982134 h 1540934"/>
              <a:gd name="connsiteX95" fmla="*/ 4995334 w 7831667"/>
              <a:gd name="connsiteY95" fmla="*/ 948267 h 1540934"/>
              <a:gd name="connsiteX96" fmla="*/ 5046134 w 7831667"/>
              <a:gd name="connsiteY96" fmla="*/ 880534 h 1540934"/>
              <a:gd name="connsiteX97" fmla="*/ 5096934 w 7831667"/>
              <a:gd name="connsiteY97" fmla="*/ 812800 h 1540934"/>
              <a:gd name="connsiteX98" fmla="*/ 5122334 w 7831667"/>
              <a:gd name="connsiteY98" fmla="*/ 770467 h 1540934"/>
              <a:gd name="connsiteX99" fmla="*/ 5173134 w 7831667"/>
              <a:gd name="connsiteY99" fmla="*/ 719667 h 1540934"/>
              <a:gd name="connsiteX100" fmla="*/ 5207000 w 7831667"/>
              <a:gd name="connsiteY100" fmla="*/ 660400 h 1540934"/>
              <a:gd name="connsiteX101" fmla="*/ 5266267 w 7831667"/>
              <a:gd name="connsiteY101" fmla="*/ 558800 h 1540934"/>
              <a:gd name="connsiteX102" fmla="*/ 5520267 w 7831667"/>
              <a:gd name="connsiteY102" fmla="*/ 211667 h 1540934"/>
              <a:gd name="connsiteX103" fmla="*/ 5621867 w 7831667"/>
              <a:gd name="connsiteY103" fmla="*/ 135467 h 1540934"/>
              <a:gd name="connsiteX104" fmla="*/ 5655734 w 7831667"/>
              <a:gd name="connsiteY104" fmla="*/ 110067 h 1540934"/>
              <a:gd name="connsiteX105" fmla="*/ 5681134 w 7831667"/>
              <a:gd name="connsiteY105" fmla="*/ 84667 h 1540934"/>
              <a:gd name="connsiteX106" fmla="*/ 5731934 w 7831667"/>
              <a:gd name="connsiteY106" fmla="*/ 50800 h 1540934"/>
              <a:gd name="connsiteX107" fmla="*/ 5791200 w 7831667"/>
              <a:gd name="connsiteY107" fmla="*/ 16934 h 1540934"/>
              <a:gd name="connsiteX108" fmla="*/ 5833534 w 7831667"/>
              <a:gd name="connsiteY108" fmla="*/ 0 h 1540934"/>
              <a:gd name="connsiteX109" fmla="*/ 5952067 w 7831667"/>
              <a:gd name="connsiteY109" fmla="*/ 8467 h 1540934"/>
              <a:gd name="connsiteX110" fmla="*/ 6002867 w 7831667"/>
              <a:gd name="connsiteY110" fmla="*/ 16934 h 1540934"/>
              <a:gd name="connsiteX111" fmla="*/ 6062134 w 7831667"/>
              <a:gd name="connsiteY111" fmla="*/ 59267 h 1540934"/>
              <a:gd name="connsiteX112" fmla="*/ 6087534 w 7831667"/>
              <a:gd name="connsiteY112" fmla="*/ 93134 h 1540934"/>
              <a:gd name="connsiteX113" fmla="*/ 6163734 w 7831667"/>
              <a:gd name="connsiteY113" fmla="*/ 127000 h 1540934"/>
              <a:gd name="connsiteX114" fmla="*/ 6239934 w 7831667"/>
              <a:gd name="connsiteY114" fmla="*/ 152400 h 1540934"/>
              <a:gd name="connsiteX115" fmla="*/ 6307667 w 7831667"/>
              <a:gd name="connsiteY115" fmla="*/ 186267 h 1540934"/>
              <a:gd name="connsiteX116" fmla="*/ 6341534 w 7831667"/>
              <a:gd name="connsiteY116" fmla="*/ 194734 h 1540934"/>
              <a:gd name="connsiteX117" fmla="*/ 6366934 w 7831667"/>
              <a:gd name="connsiteY117" fmla="*/ 211667 h 1540934"/>
              <a:gd name="connsiteX118" fmla="*/ 6426200 w 7831667"/>
              <a:gd name="connsiteY118" fmla="*/ 237067 h 1540934"/>
              <a:gd name="connsiteX119" fmla="*/ 6460067 w 7831667"/>
              <a:gd name="connsiteY119" fmla="*/ 262467 h 1540934"/>
              <a:gd name="connsiteX120" fmla="*/ 6502400 w 7831667"/>
              <a:gd name="connsiteY120" fmla="*/ 287867 h 1540934"/>
              <a:gd name="connsiteX121" fmla="*/ 6544734 w 7831667"/>
              <a:gd name="connsiteY121" fmla="*/ 330200 h 1540934"/>
              <a:gd name="connsiteX122" fmla="*/ 6620934 w 7831667"/>
              <a:gd name="connsiteY122" fmla="*/ 364067 h 1540934"/>
              <a:gd name="connsiteX123" fmla="*/ 6705600 w 7831667"/>
              <a:gd name="connsiteY123" fmla="*/ 431800 h 1540934"/>
              <a:gd name="connsiteX124" fmla="*/ 6756400 w 7831667"/>
              <a:gd name="connsiteY124" fmla="*/ 457200 h 1540934"/>
              <a:gd name="connsiteX125" fmla="*/ 6773334 w 7831667"/>
              <a:gd name="connsiteY125" fmla="*/ 474134 h 1540934"/>
              <a:gd name="connsiteX126" fmla="*/ 6832600 w 7831667"/>
              <a:gd name="connsiteY126" fmla="*/ 516467 h 1540934"/>
              <a:gd name="connsiteX127" fmla="*/ 6874934 w 7831667"/>
              <a:gd name="connsiteY127" fmla="*/ 524934 h 1540934"/>
              <a:gd name="connsiteX128" fmla="*/ 6917267 w 7831667"/>
              <a:gd name="connsiteY128" fmla="*/ 541867 h 1540934"/>
              <a:gd name="connsiteX129" fmla="*/ 7103534 w 7831667"/>
              <a:gd name="connsiteY129" fmla="*/ 524934 h 1540934"/>
              <a:gd name="connsiteX130" fmla="*/ 7239000 w 7831667"/>
              <a:gd name="connsiteY130" fmla="*/ 482600 h 1540934"/>
              <a:gd name="connsiteX131" fmla="*/ 7433734 w 7831667"/>
              <a:gd name="connsiteY131" fmla="*/ 448734 h 1540934"/>
              <a:gd name="connsiteX132" fmla="*/ 7476067 w 7831667"/>
              <a:gd name="connsiteY132" fmla="*/ 474134 h 1540934"/>
              <a:gd name="connsiteX133" fmla="*/ 7526867 w 7831667"/>
              <a:gd name="connsiteY133" fmla="*/ 558800 h 1540934"/>
              <a:gd name="connsiteX134" fmla="*/ 7577667 w 7831667"/>
              <a:gd name="connsiteY134" fmla="*/ 702734 h 1540934"/>
              <a:gd name="connsiteX135" fmla="*/ 7586134 w 7831667"/>
              <a:gd name="connsiteY135" fmla="*/ 745067 h 1540934"/>
              <a:gd name="connsiteX136" fmla="*/ 7628467 w 7831667"/>
              <a:gd name="connsiteY136" fmla="*/ 778934 h 1540934"/>
              <a:gd name="connsiteX137" fmla="*/ 7662334 w 7831667"/>
              <a:gd name="connsiteY137" fmla="*/ 795867 h 1540934"/>
              <a:gd name="connsiteX138" fmla="*/ 7696200 w 7831667"/>
              <a:gd name="connsiteY138" fmla="*/ 821267 h 1540934"/>
              <a:gd name="connsiteX139" fmla="*/ 7730067 w 7831667"/>
              <a:gd name="connsiteY139" fmla="*/ 829734 h 1540934"/>
              <a:gd name="connsiteX140" fmla="*/ 7763934 w 7831667"/>
              <a:gd name="connsiteY140" fmla="*/ 846667 h 1540934"/>
              <a:gd name="connsiteX141" fmla="*/ 7814734 w 7831667"/>
              <a:gd name="connsiteY141" fmla="*/ 897467 h 1540934"/>
              <a:gd name="connsiteX142" fmla="*/ 7831667 w 7831667"/>
              <a:gd name="connsiteY14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588934 w 7831667"/>
              <a:gd name="connsiteY89" fmla="*/ 1202267 h 1540934"/>
              <a:gd name="connsiteX90" fmla="*/ 4724400 w 7831667"/>
              <a:gd name="connsiteY90" fmla="*/ 1126067 h 1540934"/>
              <a:gd name="connsiteX91" fmla="*/ 4775200 w 7831667"/>
              <a:gd name="connsiteY91" fmla="*/ 1100667 h 1540934"/>
              <a:gd name="connsiteX92" fmla="*/ 4842934 w 7831667"/>
              <a:gd name="connsiteY92" fmla="*/ 1058334 h 1540934"/>
              <a:gd name="connsiteX93" fmla="*/ 4876800 w 7831667"/>
              <a:gd name="connsiteY93" fmla="*/ 1032934 h 1540934"/>
              <a:gd name="connsiteX94" fmla="*/ 4953000 w 7831667"/>
              <a:gd name="connsiteY94" fmla="*/ 982134 h 1540934"/>
              <a:gd name="connsiteX95" fmla="*/ 4995334 w 7831667"/>
              <a:gd name="connsiteY95" fmla="*/ 948267 h 1540934"/>
              <a:gd name="connsiteX96" fmla="*/ 5046134 w 7831667"/>
              <a:gd name="connsiteY96" fmla="*/ 880534 h 1540934"/>
              <a:gd name="connsiteX97" fmla="*/ 5096934 w 7831667"/>
              <a:gd name="connsiteY97" fmla="*/ 812800 h 1540934"/>
              <a:gd name="connsiteX98" fmla="*/ 5122334 w 7831667"/>
              <a:gd name="connsiteY98" fmla="*/ 770467 h 1540934"/>
              <a:gd name="connsiteX99" fmla="*/ 5173134 w 7831667"/>
              <a:gd name="connsiteY99" fmla="*/ 719667 h 1540934"/>
              <a:gd name="connsiteX100" fmla="*/ 5207000 w 7831667"/>
              <a:gd name="connsiteY100" fmla="*/ 660400 h 1540934"/>
              <a:gd name="connsiteX101" fmla="*/ 5266267 w 7831667"/>
              <a:gd name="connsiteY101" fmla="*/ 558800 h 1540934"/>
              <a:gd name="connsiteX102" fmla="*/ 5520267 w 7831667"/>
              <a:gd name="connsiteY102" fmla="*/ 211667 h 1540934"/>
              <a:gd name="connsiteX103" fmla="*/ 5621867 w 7831667"/>
              <a:gd name="connsiteY103" fmla="*/ 135467 h 1540934"/>
              <a:gd name="connsiteX104" fmla="*/ 5655734 w 7831667"/>
              <a:gd name="connsiteY104" fmla="*/ 110067 h 1540934"/>
              <a:gd name="connsiteX105" fmla="*/ 5681134 w 7831667"/>
              <a:gd name="connsiteY105" fmla="*/ 84667 h 1540934"/>
              <a:gd name="connsiteX106" fmla="*/ 5731934 w 7831667"/>
              <a:gd name="connsiteY106" fmla="*/ 50800 h 1540934"/>
              <a:gd name="connsiteX107" fmla="*/ 5791200 w 7831667"/>
              <a:gd name="connsiteY107" fmla="*/ 16934 h 1540934"/>
              <a:gd name="connsiteX108" fmla="*/ 5833534 w 7831667"/>
              <a:gd name="connsiteY108" fmla="*/ 0 h 1540934"/>
              <a:gd name="connsiteX109" fmla="*/ 5952067 w 7831667"/>
              <a:gd name="connsiteY109" fmla="*/ 8467 h 1540934"/>
              <a:gd name="connsiteX110" fmla="*/ 6002867 w 7831667"/>
              <a:gd name="connsiteY110" fmla="*/ 16934 h 1540934"/>
              <a:gd name="connsiteX111" fmla="*/ 6062134 w 7831667"/>
              <a:gd name="connsiteY111" fmla="*/ 59267 h 1540934"/>
              <a:gd name="connsiteX112" fmla="*/ 6087534 w 7831667"/>
              <a:gd name="connsiteY112" fmla="*/ 93134 h 1540934"/>
              <a:gd name="connsiteX113" fmla="*/ 6163734 w 7831667"/>
              <a:gd name="connsiteY113" fmla="*/ 127000 h 1540934"/>
              <a:gd name="connsiteX114" fmla="*/ 6239934 w 7831667"/>
              <a:gd name="connsiteY114" fmla="*/ 152400 h 1540934"/>
              <a:gd name="connsiteX115" fmla="*/ 6307667 w 7831667"/>
              <a:gd name="connsiteY115" fmla="*/ 186267 h 1540934"/>
              <a:gd name="connsiteX116" fmla="*/ 6341534 w 7831667"/>
              <a:gd name="connsiteY116" fmla="*/ 194734 h 1540934"/>
              <a:gd name="connsiteX117" fmla="*/ 6366934 w 7831667"/>
              <a:gd name="connsiteY117" fmla="*/ 211667 h 1540934"/>
              <a:gd name="connsiteX118" fmla="*/ 6426200 w 7831667"/>
              <a:gd name="connsiteY118" fmla="*/ 237067 h 1540934"/>
              <a:gd name="connsiteX119" fmla="*/ 6460067 w 7831667"/>
              <a:gd name="connsiteY119" fmla="*/ 262467 h 1540934"/>
              <a:gd name="connsiteX120" fmla="*/ 6502400 w 7831667"/>
              <a:gd name="connsiteY120" fmla="*/ 287867 h 1540934"/>
              <a:gd name="connsiteX121" fmla="*/ 6544734 w 7831667"/>
              <a:gd name="connsiteY121" fmla="*/ 330200 h 1540934"/>
              <a:gd name="connsiteX122" fmla="*/ 6620934 w 7831667"/>
              <a:gd name="connsiteY122" fmla="*/ 364067 h 1540934"/>
              <a:gd name="connsiteX123" fmla="*/ 6705600 w 7831667"/>
              <a:gd name="connsiteY123" fmla="*/ 431800 h 1540934"/>
              <a:gd name="connsiteX124" fmla="*/ 6756400 w 7831667"/>
              <a:gd name="connsiteY124" fmla="*/ 457200 h 1540934"/>
              <a:gd name="connsiteX125" fmla="*/ 6773334 w 7831667"/>
              <a:gd name="connsiteY125" fmla="*/ 474134 h 1540934"/>
              <a:gd name="connsiteX126" fmla="*/ 6832600 w 7831667"/>
              <a:gd name="connsiteY126" fmla="*/ 516467 h 1540934"/>
              <a:gd name="connsiteX127" fmla="*/ 6874934 w 7831667"/>
              <a:gd name="connsiteY127" fmla="*/ 524934 h 1540934"/>
              <a:gd name="connsiteX128" fmla="*/ 6917267 w 7831667"/>
              <a:gd name="connsiteY128" fmla="*/ 541867 h 1540934"/>
              <a:gd name="connsiteX129" fmla="*/ 7103534 w 7831667"/>
              <a:gd name="connsiteY129" fmla="*/ 524934 h 1540934"/>
              <a:gd name="connsiteX130" fmla="*/ 7239000 w 7831667"/>
              <a:gd name="connsiteY130" fmla="*/ 482600 h 1540934"/>
              <a:gd name="connsiteX131" fmla="*/ 7433734 w 7831667"/>
              <a:gd name="connsiteY131" fmla="*/ 448734 h 1540934"/>
              <a:gd name="connsiteX132" fmla="*/ 7476067 w 7831667"/>
              <a:gd name="connsiteY132" fmla="*/ 474134 h 1540934"/>
              <a:gd name="connsiteX133" fmla="*/ 7526867 w 7831667"/>
              <a:gd name="connsiteY133" fmla="*/ 558800 h 1540934"/>
              <a:gd name="connsiteX134" fmla="*/ 7577667 w 7831667"/>
              <a:gd name="connsiteY134" fmla="*/ 702734 h 1540934"/>
              <a:gd name="connsiteX135" fmla="*/ 7586134 w 7831667"/>
              <a:gd name="connsiteY135" fmla="*/ 745067 h 1540934"/>
              <a:gd name="connsiteX136" fmla="*/ 7628467 w 7831667"/>
              <a:gd name="connsiteY136" fmla="*/ 778934 h 1540934"/>
              <a:gd name="connsiteX137" fmla="*/ 7662334 w 7831667"/>
              <a:gd name="connsiteY137" fmla="*/ 795867 h 1540934"/>
              <a:gd name="connsiteX138" fmla="*/ 7696200 w 7831667"/>
              <a:gd name="connsiteY138" fmla="*/ 821267 h 1540934"/>
              <a:gd name="connsiteX139" fmla="*/ 7730067 w 7831667"/>
              <a:gd name="connsiteY139" fmla="*/ 829734 h 1540934"/>
              <a:gd name="connsiteX140" fmla="*/ 7763934 w 7831667"/>
              <a:gd name="connsiteY140" fmla="*/ 846667 h 1540934"/>
              <a:gd name="connsiteX141" fmla="*/ 7814734 w 7831667"/>
              <a:gd name="connsiteY141" fmla="*/ 897467 h 1540934"/>
              <a:gd name="connsiteX142" fmla="*/ 7831667 w 7831667"/>
              <a:gd name="connsiteY14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588934 w 7831667"/>
              <a:gd name="connsiteY89" fmla="*/ 1202267 h 1540934"/>
              <a:gd name="connsiteX90" fmla="*/ 4724400 w 7831667"/>
              <a:gd name="connsiteY90" fmla="*/ 1071639 h 1540934"/>
              <a:gd name="connsiteX91" fmla="*/ 4775200 w 7831667"/>
              <a:gd name="connsiteY91" fmla="*/ 1100667 h 1540934"/>
              <a:gd name="connsiteX92" fmla="*/ 4842934 w 7831667"/>
              <a:gd name="connsiteY92" fmla="*/ 1058334 h 1540934"/>
              <a:gd name="connsiteX93" fmla="*/ 4876800 w 7831667"/>
              <a:gd name="connsiteY93" fmla="*/ 1032934 h 1540934"/>
              <a:gd name="connsiteX94" fmla="*/ 4953000 w 7831667"/>
              <a:gd name="connsiteY94" fmla="*/ 982134 h 1540934"/>
              <a:gd name="connsiteX95" fmla="*/ 4995334 w 7831667"/>
              <a:gd name="connsiteY95" fmla="*/ 948267 h 1540934"/>
              <a:gd name="connsiteX96" fmla="*/ 5046134 w 7831667"/>
              <a:gd name="connsiteY96" fmla="*/ 880534 h 1540934"/>
              <a:gd name="connsiteX97" fmla="*/ 5096934 w 7831667"/>
              <a:gd name="connsiteY97" fmla="*/ 812800 h 1540934"/>
              <a:gd name="connsiteX98" fmla="*/ 5122334 w 7831667"/>
              <a:gd name="connsiteY98" fmla="*/ 770467 h 1540934"/>
              <a:gd name="connsiteX99" fmla="*/ 5173134 w 7831667"/>
              <a:gd name="connsiteY99" fmla="*/ 719667 h 1540934"/>
              <a:gd name="connsiteX100" fmla="*/ 5207000 w 7831667"/>
              <a:gd name="connsiteY100" fmla="*/ 660400 h 1540934"/>
              <a:gd name="connsiteX101" fmla="*/ 5266267 w 7831667"/>
              <a:gd name="connsiteY101" fmla="*/ 558800 h 1540934"/>
              <a:gd name="connsiteX102" fmla="*/ 5520267 w 7831667"/>
              <a:gd name="connsiteY102" fmla="*/ 211667 h 1540934"/>
              <a:gd name="connsiteX103" fmla="*/ 5621867 w 7831667"/>
              <a:gd name="connsiteY103" fmla="*/ 135467 h 1540934"/>
              <a:gd name="connsiteX104" fmla="*/ 5655734 w 7831667"/>
              <a:gd name="connsiteY104" fmla="*/ 110067 h 1540934"/>
              <a:gd name="connsiteX105" fmla="*/ 5681134 w 7831667"/>
              <a:gd name="connsiteY105" fmla="*/ 84667 h 1540934"/>
              <a:gd name="connsiteX106" fmla="*/ 5731934 w 7831667"/>
              <a:gd name="connsiteY106" fmla="*/ 50800 h 1540934"/>
              <a:gd name="connsiteX107" fmla="*/ 5791200 w 7831667"/>
              <a:gd name="connsiteY107" fmla="*/ 16934 h 1540934"/>
              <a:gd name="connsiteX108" fmla="*/ 5833534 w 7831667"/>
              <a:gd name="connsiteY108" fmla="*/ 0 h 1540934"/>
              <a:gd name="connsiteX109" fmla="*/ 5952067 w 7831667"/>
              <a:gd name="connsiteY109" fmla="*/ 8467 h 1540934"/>
              <a:gd name="connsiteX110" fmla="*/ 6002867 w 7831667"/>
              <a:gd name="connsiteY110" fmla="*/ 16934 h 1540934"/>
              <a:gd name="connsiteX111" fmla="*/ 6062134 w 7831667"/>
              <a:gd name="connsiteY111" fmla="*/ 59267 h 1540934"/>
              <a:gd name="connsiteX112" fmla="*/ 6087534 w 7831667"/>
              <a:gd name="connsiteY112" fmla="*/ 93134 h 1540934"/>
              <a:gd name="connsiteX113" fmla="*/ 6163734 w 7831667"/>
              <a:gd name="connsiteY113" fmla="*/ 127000 h 1540934"/>
              <a:gd name="connsiteX114" fmla="*/ 6239934 w 7831667"/>
              <a:gd name="connsiteY114" fmla="*/ 152400 h 1540934"/>
              <a:gd name="connsiteX115" fmla="*/ 6307667 w 7831667"/>
              <a:gd name="connsiteY115" fmla="*/ 186267 h 1540934"/>
              <a:gd name="connsiteX116" fmla="*/ 6341534 w 7831667"/>
              <a:gd name="connsiteY116" fmla="*/ 194734 h 1540934"/>
              <a:gd name="connsiteX117" fmla="*/ 6366934 w 7831667"/>
              <a:gd name="connsiteY117" fmla="*/ 211667 h 1540934"/>
              <a:gd name="connsiteX118" fmla="*/ 6426200 w 7831667"/>
              <a:gd name="connsiteY118" fmla="*/ 237067 h 1540934"/>
              <a:gd name="connsiteX119" fmla="*/ 6460067 w 7831667"/>
              <a:gd name="connsiteY119" fmla="*/ 262467 h 1540934"/>
              <a:gd name="connsiteX120" fmla="*/ 6502400 w 7831667"/>
              <a:gd name="connsiteY120" fmla="*/ 287867 h 1540934"/>
              <a:gd name="connsiteX121" fmla="*/ 6544734 w 7831667"/>
              <a:gd name="connsiteY121" fmla="*/ 330200 h 1540934"/>
              <a:gd name="connsiteX122" fmla="*/ 6620934 w 7831667"/>
              <a:gd name="connsiteY122" fmla="*/ 364067 h 1540934"/>
              <a:gd name="connsiteX123" fmla="*/ 6705600 w 7831667"/>
              <a:gd name="connsiteY123" fmla="*/ 431800 h 1540934"/>
              <a:gd name="connsiteX124" fmla="*/ 6756400 w 7831667"/>
              <a:gd name="connsiteY124" fmla="*/ 457200 h 1540934"/>
              <a:gd name="connsiteX125" fmla="*/ 6773334 w 7831667"/>
              <a:gd name="connsiteY125" fmla="*/ 474134 h 1540934"/>
              <a:gd name="connsiteX126" fmla="*/ 6832600 w 7831667"/>
              <a:gd name="connsiteY126" fmla="*/ 516467 h 1540934"/>
              <a:gd name="connsiteX127" fmla="*/ 6874934 w 7831667"/>
              <a:gd name="connsiteY127" fmla="*/ 524934 h 1540934"/>
              <a:gd name="connsiteX128" fmla="*/ 6917267 w 7831667"/>
              <a:gd name="connsiteY128" fmla="*/ 541867 h 1540934"/>
              <a:gd name="connsiteX129" fmla="*/ 7103534 w 7831667"/>
              <a:gd name="connsiteY129" fmla="*/ 524934 h 1540934"/>
              <a:gd name="connsiteX130" fmla="*/ 7239000 w 7831667"/>
              <a:gd name="connsiteY130" fmla="*/ 482600 h 1540934"/>
              <a:gd name="connsiteX131" fmla="*/ 7433734 w 7831667"/>
              <a:gd name="connsiteY131" fmla="*/ 448734 h 1540934"/>
              <a:gd name="connsiteX132" fmla="*/ 7476067 w 7831667"/>
              <a:gd name="connsiteY132" fmla="*/ 474134 h 1540934"/>
              <a:gd name="connsiteX133" fmla="*/ 7526867 w 7831667"/>
              <a:gd name="connsiteY133" fmla="*/ 558800 h 1540934"/>
              <a:gd name="connsiteX134" fmla="*/ 7577667 w 7831667"/>
              <a:gd name="connsiteY134" fmla="*/ 702734 h 1540934"/>
              <a:gd name="connsiteX135" fmla="*/ 7586134 w 7831667"/>
              <a:gd name="connsiteY135" fmla="*/ 745067 h 1540934"/>
              <a:gd name="connsiteX136" fmla="*/ 7628467 w 7831667"/>
              <a:gd name="connsiteY136" fmla="*/ 778934 h 1540934"/>
              <a:gd name="connsiteX137" fmla="*/ 7662334 w 7831667"/>
              <a:gd name="connsiteY137" fmla="*/ 795867 h 1540934"/>
              <a:gd name="connsiteX138" fmla="*/ 7696200 w 7831667"/>
              <a:gd name="connsiteY138" fmla="*/ 821267 h 1540934"/>
              <a:gd name="connsiteX139" fmla="*/ 7730067 w 7831667"/>
              <a:gd name="connsiteY139" fmla="*/ 829734 h 1540934"/>
              <a:gd name="connsiteX140" fmla="*/ 7763934 w 7831667"/>
              <a:gd name="connsiteY140" fmla="*/ 846667 h 1540934"/>
              <a:gd name="connsiteX141" fmla="*/ 7814734 w 7831667"/>
              <a:gd name="connsiteY141" fmla="*/ 897467 h 1540934"/>
              <a:gd name="connsiteX142" fmla="*/ 7831667 w 7831667"/>
              <a:gd name="connsiteY14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724400 w 7831667"/>
              <a:gd name="connsiteY89" fmla="*/ 1071639 h 1540934"/>
              <a:gd name="connsiteX90" fmla="*/ 4775200 w 7831667"/>
              <a:gd name="connsiteY90" fmla="*/ 1100667 h 1540934"/>
              <a:gd name="connsiteX91" fmla="*/ 4842934 w 7831667"/>
              <a:gd name="connsiteY91" fmla="*/ 1058334 h 1540934"/>
              <a:gd name="connsiteX92" fmla="*/ 4876800 w 7831667"/>
              <a:gd name="connsiteY92" fmla="*/ 1032934 h 1540934"/>
              <a:gd name="connsiteX93" fmla="*/ 4953000 w 7831667"/>
              <a:gd name="connsiteY93" fmla="*/ 982134 h 1540934"/>
              <a:gd name="connsiteX94" fmla="*/ 4995334 w 7831667"/>
              <a:gd name="connsiteY94" fmla="*/ 948267 h 1540934"/>
              <a:gd name="connsiteX95" fmla="*/ 5046134 w 7831667"/>
              <a:gd name="connsiteY95" fmla="*/ 880534 h 1540934"/>
              <a:gd name="connsiteX96" fmla="*/ 5096934 w 7831667"/>
              <a:gd name="connsiteY96" fmla="*/ 812800 h 1540934"/>
              <a:gd name="connsiteX97" fmla="*/ 5122334 w 7831667"/>
              <a:gd name="connsiteY97" fmla="*/ 770467 h 1540934"/>
              <a:gd name="connsiteX98" fmla="*/ 5173134 w 7831667"/>
              <a:gd name="connsiteY98" fmla="*/ 719667 h 1540934"/>
              <a:gd name="connsiteX99" fmla="*/ 5207000 w 7831667"/>
              <a:gd name="connsiteY99" fmla="*/ 660400 h 1540934"/>
              <a:gd name="connsiteX100" fmla="*/ 5266267 w 7831667"/>
              <a:gd name="connsiteY100" fmla="*/ 558800 h 1540934"/>
              <a:gd name="connsiteX101" fmla="*/ 5520267 w 7831667"/>
              <a:gd name="connsiteY101" fmla="*/ 211667 h 1540934"/>
              <a:gd name="connsiteX102" fmla="*/ 5621867 w 7831667"/>
              <a:gd name="connsiteY102" fmla="*/ 135467 h 1540934"/>
              <a:gd name="connsiteX103" fmla="*/ 5655734 w 7831667"/>
              <a:gd name="connsiteY103" fmla="*/ 110067 h 1540934"/>
              <a:gd name="connsiteX104" fmla="*/ 5681134 w 7831667"/>
              <a:gd name="connsiteY104" fmla="*/ 84667 h 1540934"/>
              <a:gd name="connsiteX105" fmla="*/ 5731934 w 7831667"/>
              <a:gd name="connsiteY105" fmla="*/ 50800 h 1540934"/>
              <a:gd name="connsiteX106" fmla="*/ 5791200 w 7831667"/>
              <a:gd name="connsiteY106" fmla="*/ 16934 h 1540934"/>
              <a:gd name="connsiteX107" fmla="*/ 5833534 w 7831667"/>
              <a:gd name="connsiteY107" fmla="*/ 0 h 1540934"/>
              <a:gd name="connsiteX108" fmla="*/ 5952067 w 7831667"/>
              <a:gd name="connsiteY108" fmla="*/ 8467 h 1540934"/>
              <a:gd name="connsiteX109" fmla="*/ 6002867 w 7831667"/>
              <a:gd name="connsiteY109" fmla="*/ 16934 h 1540934"/>
              <a:gd name="connsiteX110" fmla="*/ 6062134 w 7831667"/>
              <a:gd name="connsiteY110" fmla="*/ 59267 h 1540934"/>
              <a:gd name="connsiteX111" fmla="*/ 6087534 w 7831667"/>
              <a:gd name="connsiteY111" fmla="*/ 93134 h 1540934"/>
              <a:gd name="connsiteX112" fmla="*/ 6163734 w 7831667"/>
              <a:gd name="connsiteY112" fmla="*/ 127000 h 1540934"/>
              <a:gd name="connsiteX113" fmla="*/ 6239934 w 7831667"/>
              <a:gd name="connsiteY113" fmla="*/ 152400 h 1540934"/>
              <a:gd name="connsiteX114" fmla="*/ 6307667 w 7831667"/>
              <a:gd name="connsiteY114" fmla="*/ 186267 h 1540934"/>
              <a:gd name="connsiteX115" fmla="*/ 6341534 w 7831667"/>
              <a:gd name="connsiteY115" fmla="*/ 194734 h 1540934"/>
              <a:gd name="connsiteX116" fmla="*/ 6366934 w 7831667"/>
              <a:gd name="connsiteY116" fmla="*/ 211667 h 1540934"/>
              <a:gd name="connsiteX117" fmla="*/ 6426200 w 7831667"/>
              <a:gd name="connsiteY117" fmla="*/ 237067 h 1540934"/>
              <a:gd name="connsiteX118" fmla="*/ 6460067 w 7831667"/>
              <a:gd name="connsiteY118" fmla="*/ 262467 h 1540934"/>
              <a:gd name="connsiteX119" fmla="*/ 6502400 w 7831667"/>
              <a:gd name="connsiteY119" fmla="*/ 287867 h 1540934"/>
              <a:gd name="connsiteX120" fmla="*/ 6544734 w 7831667"/>
              <a:gd name="connsiteY120" fmla="*/ 330200 h 1540934"/>
              <a:gd name="connsiteX121" fmla="*/ 6620934 w 7831667"/>
              <a:gd name="connsiteY121" fmla="*/ 364067 h 1540934"/>
              <a:gd name="connsiteX122" fmla="*/ 6705600 w 7831667"/>
              <a:gd name="connsiteY122" fmla="*/ 431800 h 1540934"/>
              <a:gd name="connsiteX123" fmla="*/ 6756400 w 7831667"/>
              <a:gd name="connsiteY123" fmla="*/ 457200 h 1540934"/>
              <a:gd name="connsiteX124" fmla="*/ 6773334 w 7831667"/>
              <a:gd name="connsiteY124" fmla="*/ 474134 h 1540934"/>
              <a:gd name="connsiteX125" fmla="*/ 6832600 w 7831667"/>
              <a:gd name="connsiteY125" fmla="*/ 516467 h 1540934"/>
              <a:gd name="connsiteX126" fmla="*/ 6874934 w 7831667"/>
              <a:gd name="connsiteY126" fmla="*/ 524934 h 1540934"/>
              <a:gd name="connsiteX127" fmla="*/ 6917267 w 7831667"/>
              <a:gd name="connsiteY127" fmla="*/ 541867 h 1540934"/>
              <a:gd name="connsiteX128" fmla="*/ 7103534 w 7831667"/>
              <a:gd name="connsiteY128" fmla="*/ 524934 h 1540934"/>
              <a:gd name="connsiteX129" fmla="*/ 7239000 w 7831667"/>
              <a:gd name="connsiteY129" fmla="*/ 482600 h 1540934"/>
              <a:gd name="connsiteX130" fmla="*/ 7433734 w 7831667"/>
              <a:gd name="connsiteY130" fmla="*/ 448734 h 1540934"/>
              <a:gd name="connsiteX131" fmla="*/ 7476067 w 7831667"/>
              <a:gd name="connsiteY131" fmla="*/ 474134 h 1540934"/>
              <a:gd name="connsiteX132" fmla="*/ 7526867 w 7831667"/>
              <a:gd name="connsiteY132" fmla="*/ 558800 h 1540934"/>
              <a:gd name="connsiteX133" fmla="*/ 7577667 w 7831667"/>
              <a:gd name="connsiteY133" fmla="*/ 702734 h 1540934"/>
              <a:gd name="connsiteX134" fmla="*/ 7586134 w 7831667"/>
              <a:gd name="connsiteY134" fmla="*/ 745067 h 1540934"/>
              <a:gd name="connsiteX135" fmla="*/ 7628467 w 7831667"/>
              <a:gd name="connsiteY135" fmla="*/ 778934 h 1540934"/>
              <a:gd name="connsiteX136" fmla="*/ 7662334 w 7831667"/>
              <a:gd name="connsiteY136" fmla="*/ 795867 h 1540934"/>
              <a:gd name="connsiteX137" fmla="*/ 7696200 w 7831667"/>
              <a:gd name="connsiteY137" fmla="*/ 821267 h 1540934"/>
              <a:gd name="connsiteX138" fmla="*/ 7730067 w 7831667"/>
              <a:gd name="connsiteY138" fmla="*/ 829734 h 1540934"/>
              <a:gd name="connsiteX139" fmla="*/ 7763934 w 7831667"/>
              <a:gd name="connsiteY139" fmla="*/ 846667 h 1540934"/>
              <a:gd name="connsiteX140" fmla="*/ 7814734 w 7831667"/>
              <a:gd name="connsiteY140" fmla="*/ 897467 h 1540934"/>
              <a:gd name="connsiteX141" fmla="*/ 7831667 w 7831667"/>
              <a:gd name="connsiteY141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724400 w 7831667"/>
              <a:gd name="connsiteY88" fmla="*/ 1071639 h 1540934"/>
              <a:gd name="connsiteX89" fmla="*/ 4775200 w 7831667"/>
              <a:gd name="connsiteY89" fmla="*/ 1100667 h 1540934"/>
              <a:gd name="connsiteX90" fmla="*/ 4842934 w 7831667"/>
              <a:gd name="connsiteY90" fmla="*/ 1058334 h 1540934"/>
              <a:gd name="connsiteX91" fmla="*/ 4876800 w 7831667"/>
              <a:gd name="connsiteY91" fmla="*/ 1032934 h 1540934"/>
              <a:gd name="connsiteX92" fmla="*/ 4953000 w 7831667"/>
              <a:gd name="connsiteY92" fmla="*/ 982134 h 1540934"/>
              <a:gd name="connsiteX93" fmla="*/ 4995334 w 7831667"/>
              <a:gd name="connsiteY93" fmla="*/ 948267 h 1540934"/>
              <a:gd name="connsiteX94" fmla="*/ 5046134 w 7831667"/>
              <a:gd name="connsiteY94" fmla="*/ 880534 h 1540934"/>
              <a:gd name="connsiteX95" fmla="*/ 5096934 w 7831667"/>
              <a:gd name="connsiteY95" fmla="*/ 812800 h 1540934"/>
              <a:gd name="connsiteX96" fmla="*/ 5122334 w 7831667"/>
              <a:gd name="connsiteY96" fmla="*/ 770467 h 1540934"/>
              <a:gd name="connsiteX97" fmla="*/ 5173134 w 7831667"/>
              <a:gd name="connsiteY97" fmla="*/ 719667 h 1540934"/>
              <a:gd name="connsiteX98" fmla="*/ 5207000 w 7831667"/>
              <a:gd name="connsiteY98" fmla="*/ 660400 h 1540934"/>
              <a:gd name="connsiteX99" fmla="*/ 5266267 w 7831667"/>
              <a:gd name="connsiteY99" fmla="*/ 558800 h 1540934"/>
              <a:gd name="connsiteX100" fmla="*/ 5520267 w 7831667"/>
              <a:gd name="connsiteY100" fmla="*/ 211667 h 1540934"/>
              <a:gd name="connsiteX101" fmla="*/ 5621867 w 7831667"/>
              <a:gd name="connsiteY101" fmla="*/ 135467 h 1540934"/>
              <a:gd name="connsiteX102" fmla="*/ 5655734 w 7831667"/>
              <a:gd name="connsiteY102" fmla="*/ 110067 h 1540934"/>
              <a:gd name="connsiteX103" fmla="*/ 5681134 w 7831667"/>
              <a:gd name="connsiteY103" fmla="*/ 84667 h 1540934"/>
              <a:gd name="connsiteX104" fmla="*/ 5731934 w 7831667"/>
              <a:gd name="connsiteY104" fmla="*/ 50800 h 1540934"/>
              <a:gd name="connsiteX105" fmla="*/ 5791200 w 7831667"/>
              <a:gd name="connsiteY105" fmla="*/ 16934 h 1540934"/>
              <a:gd name="connsiteX106" fmla="*/ 5833534 w 7831667"/>
              <a:gd name="connsiteY106" fmla="*/ 0 h 1540934"/>
              <a:gd name="connsiteX107" fmla="*/ 5952067 w 7831667"/>
              <a:gd name="connsiteY107" fmla="*/ 8467 h 1540934"/>
              <a:gd name="connsiteX108" fmla="*/ 6002867 w 7831667"/>
              <a:gd name="connsiteY108" fmla="*/ 16934 h 1540934"/>
              <a:gd name="connsiteX109" fmla="*/ 6062134 w 7831667"/>
              <a:gd name="connsiteY109" fmla="*/ 59267 h 1540934"/>
              <a:gd name="connsiteX110" fmla="*/ 6087534 w 7831667"/>
              <a:gd name="connsiteY110" fmla="*/ 93134 h 1540934"/>
              <a:gd name="connsiteX111" fmla="*/ 6163734 w 7831667"/>
              <a:gd name="connsiteY111" fmla="*/ 127000 h 1540934"/>
              <a:gd name="connsiteX112" fmla="*/ 6239934 w 7831667"/>
              <a:gd name="connsiteY112" fmla="*/ 152400 h 1540934"/>
              <a:gd name="connsiteX113" fmla="*/ 6307667 w 7831667"/>
              <a:gd name="connsiteY113" fmla="*/ 186267 h 1540934"/>
              <a:gd name="connsiteX114" fmla="*/ 6341534 w 7831667"/>
              <a:gd name="connsiteY114" fmla="*/ 194734 h 1540934"/>
              <a:gd name="connsiteX115" fmla="*/ 6366934 w 7831667"/>
              <a:gd name="connsiteY115" fmla="*/ 211667 h 1540934"/>
              <a:gd name="connsiteX116" fmla="*/ 6426200 w 7831667"/>
              <a:gd name="connsiteY116" fmla="*/ 237067 h 1540934"/>
              <a:gd name="connsiteX117" fmla="*/ 6460067 w 7831667"/>
              <a:gd name="connsiteY117" fmla="*/ 262467 h 1540934"/>
              <a:gd name="connsiteX118" fmla="*/ 6502400 w 7831667"/>
              <a:gd name="connsiteY118" fmla="*/ 287867 h 1540934"/>
              <a:gd name="connsiteX119" fmla="*/ 6544734 w 7831667"/>
              <a:gd name="connsiteY119" fmla="*/ 330200 h 1540934"/>
              <a:gd name="connsiteX120" fmla="*/ 6620934 w 7831667"/>
              <a:gd name="connsiteY120" fmla="*/ 364067 h 1540934"/>
              <a:gd name="connsiteX121" fmla="*/ 6705600 w 7831667"/>
              <a:gd name="connsiteY121" fmla="*/ 431800 h 1540934"/>
              <a:gd name="connsiteX122" fmla="*/ 6756400 w 7831667"/>
              <a:gd name="connsiteY122" fmla="*/ 457200 h 1540934"/>
              <a:gd name="connsiteX123" fmla="*/ 6773334 w 7831667"/>
              <a:gd name="connsiteY123" fmla="*/ 474134 h 1540934"/>
              <a:gd name="connsiteX124" fmla="*/ 6832600 w 7831667"/>
              <a:gd name="connsiteY124" fmla="*/ 516467 h 1540934"/>
              <a:gd name="connsiteX125" fmla="*/ 6874934 w 7831667"/>
              <a:gd name="connsiteY125" fmla="*/ 524934 h 1540934"/>
              <a:gd name="connsiteX126" fmla="*/ 6917267 w 7831667"/>
              <a:gd name="connsiteY126" fmla="*/ 541867 h 1540934"/>
              <a:gd name="connsiteX127" fmla="*/ 7103534 w 7831667"/>
              <a:gd name="connsiteY127" fmla="*/ 524934 h 1540934"/>
              <a:gd name="connsiteX128" fmla="*/ 7239000 w 7831667"/>
              <a:gd name="connsiteY128" fmla="*/ 482600 h 1540934"/>
              <a:gd name="connsiteX129" fmla="*/ 7433734 w 7831667"/>
              <a:gd name="connsiteY129" fmla="*/ 448734 h 1540934"/>
              <a:gd name="connsiteX130" fmla="*/ 7476067 w 7831667"/>
              <a:gd name="connsiteY130" fmla="*/ 474134 h 1540934"/>
              <a:gd name="connsiteX131" fmla="*/ 7526867 w 7831667"/>
              <a:gd name="connsiteY131" fmla="*/ 558800 h 1540934"/>
              <a:gd name="connsiteX132" fmla="*/ 7577667 w 7831667"/>
              <a:gd name="connsiteY132" fmla="*/ 702734 h 1540934"/>
              <a:gd name="connsiteX133" fmla="*/ 7586134 w 7831667"/>
              <a:gd name="connsiteY133" fmla="*/ 745067 h 1540934"/>
              <a:gd name="connsiteX134" fmla="*/ 7628467 w 7831667"/>
              <a:gd name="connsiteY134" fmla="*/ 778934 h 1540934"/>
              <a:gd name="connsiteX135" fmla="*/ 7662334 w 7831667"/>
              <a:gd name="connsiteY135" fmla="*/ 795867 h 1540934"/>
              <a:gd name="connsiteX136" fmla="*/ 7696200 w 7831667"/>
              <a:gd name="connsiteY136" fmla="*/ 821267 h 1540934"/>
              <a:gd name="connsiteX137" fmla="*/ 7730067 w 7831667"/>
              <a:gd name="connsiteY137" fmla="*/ 829734 h 1540934"/>
              <a:gd name="connsiteX138" fmla="*/ 7763934 w 7831667"/>
              <a:gd name="connsiteY138" fmla="*/ 846667 h 1540934"/>
              <a:gd name="connsiteX139" fmla="*/ 7814734 w 7831667"/>
              <a:gd name="connsiteY139" fmla="*/ 897467 h 1540934"/>
              <a:gd name="connsiteX140" fmla="*/ 7831667 w 7831667"/>
              <a:gd name="connsiteY140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775200 w 7831667"/>
              <a:gd name="connsiteY89" fmla="*/ 1100667 h 1540934"/>
              <a:gd name="connsiteX90" fmla="*/ 4842934 w 7831667"/>
              <a:gd name="connsiteY90" fmla="*/ 1058334 h 1540934"/>
              <a:gd name="connsiteX91" fmla="*/ 4876800 w 7831667"/>
              <a:gd name="connsiteY91" fmla="*/ 1032934 h 1540934"/>
              <a:gd name="connsiteX92" fmla="*/ 4953000 w 7831667"/>
              <a:gd name="connsiteY92" fmla="*/ 982134 h 1540934"/>
              <a:gd name="connsiteX93" fmla="*/ 4995334 w 7831667"/>
              <a:gd name="connsiteY93" fmla="*/ 948267 h 1540934"/>
              <a:gd name="connsiteX94" fmla="*/ 5046134 w 7831667"/>
              <a:gd name="connsiteY94" fmla="*/ 880534 h 1540934"/>
              <a:gd name="connsiteX95" fmla="*/ 5096934 w 7831667"/>
              <a:gd name="connsiteY95" fmla="*/ 812800 h 1540934"/>
              <a:gd name="connsiteX96" fmla="*/ 5122334 w 7831667"/>
              <a:gd name="connsiteY96" fmla="*/ 770467 h 1540934"/>
              <a:gd name="connsiteX97" fmla="*/ 5173134 w 7831667"/>
              <a:gd name="connsiteY97" fmla="*/ 719667 h 1540934"/>
              <a:gd name="connsiteX98" fmla="*/ 5207000 w 7831667"/>
              <a:gd name="connsiteY98" fmla="*/ 660400 h 1540934"/>
              <a:gd name="connsiteX99" fmla="*/ 5266267 w 7831667"/>
              <a:gd name="connsiteY99" fmla="*/ 558800 h 1540934"/>
              <a:gd name="connsiteX100" fmla="*/ 5520267 w 7831667"/>
              <a:gd name="connsiteY100" fmla="*/ 211667 h 1540934"/>
              <a:gd name="connsiteX101" fmla="*/ 5621867 w 7831667"/>
              <a:gd name="connsiteY101" fmla="*/ 135467 h 1540934"/>
              <a:gd name="connsiteX102" fmla="*/ 5655734 w 7831667"/>
              <a:gd name="connsiteY102" fmla="*/ 110067 h 1540934"/>
              <a:gd name="connsiteX103" fmla="*/ 5681134 w 7831667"/>
              <a:gd name="connsiteY103" fmla="*/ 84667 h 1540934"/>
              <a:gd name="connsiteX104" fmla="*/ 5731934 w 7831667"/>
              <a:gd name="connsiteY104" fmla="*/ 50800 h 1540934"/>
              <a:gd name="connsiteX105" fmla="*/ 5791200 w 7831667"/>
              <a:gd name="connsiteY105" fmla="*/ 16934 h 1540934"/>
              <a:gd name="connsiteX106" fmla="*/ 5833534 w 7831667"/>
              <a:gd name="connsiteY106" fmla="*/ 0 h 1540934"/>
              <a:gd name="connsiteX107" fmla="*/ 5952067 w 7831667"/>
              <a:gd name="connsiteY107" fmla="*/ 8467 h 1540934"/>
              <a:gd name="connsiteX108" fmla="*/ 6002867 w 7831667"/>
              <a:gd name="connsiteY108" fmla="*/ 16934 h 1540934"/>
              <a:gd name="connsiteX109" fmla="*/ 6062134 w 7831667"/>
              <a:gd name="connsiteY109" fmla="*/ 59267 h 1540934"/>
              <a:gd name="connsiteX110" fmla="*/ 6087534 w 7831667"/>
              <a:gd name="connsiteY110" fmla="*/ 93134 h 1540934"/>
              <a:gd name="connsiteX111" fmla="*/ 6163734 w 7831667"/>
              <a:gd name="connsiteY111" fmla="*/ 127000 h 1540934"/>
              <a:gd name="connsiteX112" fmla="*/ 6239934 w 7831667"/>
              <a:gd name="connsiteY112" fmla="*/ 152400 h 1540934"/>
              <a:gd name="connsiteX113" fmla="*/ 6307667 w 7831667"/>
              <a:gd name="connsiteY113" fmla="*/ 186267 h 1540934"/>
              <a:gd name="connsiteX114" fmla="*/ 6341534 w 7831667"/>
              <a:gd name="connsiteY114" fmla="*/ 194734 h 1540934"/>
              <a:gd name="connsiteX115" fmla="*/ 6366934 w 7831667"/>
              <a:gd name="connsiteY115" fmla="*/ 211667 h 1540934"/>
              <a:gd name="connsiteX116" fmla="*/ 6426200 w 7831667"/>
              <a:gd name="connsiteY116" fmla="*/ 237067 h 1540934"/>
              <a:gd name="connsiteX117" fmla="*/ 6460067 w 7831667"/>
              <a:gd name="connsiteY117" fmla="*/ 262467 h 1540934"/>
              <a:gd name="connsiteX118" fmla="*/ 6502400 w 7831667"/>
              <a:gd name="connsiteY118" fmla="*/ 287867 h 1540934"/>
              <a:gd name="connsiteX119" fmla="*/ 6544734 w 7831667"/>
              <a:gd name="connsiteY119" fmla="*/ 330200 h 1540934"/>
              <a:gd name="connsiteX120" fmla="*/ 6620934 w 7831667"/>
              <a:gd name="connsiteY120" fmla="*/ 364067 h 1540934"/>
              <a:gd name="connsiteX121" fmla="*/ 6705600 w 7831667"/>
              <a:gd name="connsiteY121" fmla="*/ 431800 h 1540934"/>
              <a:gd name="connsiteX122" fmla="*/ 6756400 w 7831667"/>
              <a:gd name="connsiteY122" fmla="*/ 457200 h 1540934"/>
              <a:gd name="connsiteX123" fmla="*/ 6773334 w 7831667"/>
              <a:gd name="connsiteY123" fmla="*/ 474134 h 1540934"/>
              <a:gd name="connsiteX124" fmla="*/ 6832600 w 7831667"/>
              <a:gd name="connsiteY124" fmla="*/ 516467 h 1540934"/>
              <a:gd name="connsiteX125" fmla="*/ 6874934 w 7831667"/>
              <a:gd name="connsiteY125" fmla="*/ 524934 h 1540934"/>
              <a:gd name="connsiteX126" fmla="*/ 6917267 w 7831667"/>
              <a:gd name="connsiteY126" fmla="*/ 541867 h 1540934"/>
              <a:gd name="connsiteX127" fmla="*/ 7103534 w 7831667"/>
              <a:gd name="connsiteY127" fmla="*/ 524934 h 1540934"/>
              <a:gd name="connsiteX128" fmla="*/ 7239000 w 7831667"/>
              <a:gd name="connsiteY128" fmla="*/ 482600 h 1540934"/>
              <a:gd name="connsiteX129" fmla="*/ 7433734 w 7831667"/>
              <a:gd name="connsiteY129" fmla="*/ 448734 h 1540934"/>
              <a:gd name="connsiteX130" fmla="*/ 7476067 w 7831667"/>
              <a:gd name="connsiteY130" fmla="*/ 474134 h 1540934"/>
              <a:gd name="connsiteX131" fmla="*/ 7526867 w 7831667"/>
              <a:gd name="connsiteY131" fmla="*/ 558800 h 1540934"/>
              <a:gd name="connsiteX132" fmla="*/ 7577667 w 7831667"/>
              <a:gd name="connsiteY132" fmla="*/ 702734 h 1540934"/>
              <a:gd name="connsiteX133" fmla="*/ 7586134 w 7831667"/>
              <a:gd name="connsiteY133" fmla="*/ 745067 h 1540934"/>
              <a:gd name="connsiteX134" fmla="*/ 7628467 w 7831667"/>
              <a:gd name="connsiteY134" fmla="*/ 778934 h 1540934"/>
              <a:gd name="connsiteX135" fmla="*/ 7662334 w 7831667"/>
              <a:gd name="connsiteY135" fmla="*/ 795867 h 1540934"/>
              <a:gd name="connsiteX136" fmla="*/ 7696200 w 7831667"/>
              <a:gd name="connsiteY136" fmla="*/ 821267 h 1540934"/>
              <a:gd name="connsiteX137" fmla="*/ 7730067 w 7831667"/>
              <a:gd name="connsiteY137" fmla="*/ 829734 h 1540934"/>
              <a:gd name="connsiteX138" fmla="*/ 7763934 w 7831667"/>
              <a:gd name="connsiteY138" fmla="*/ 846667 h 1540934"/>
              <a:gd name="connsiteX139" fmla="*/ 7814734 w 7831667"/>
              <a:gd name="connsiteY139" fmla="*/ 897467 h 1540934"/>
              <a:gd name="connsiteX140" fmla="*/ 7831667 w 7831667"/>
              <a:gd name="connsiteY140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842934 w 7831667"/>
              <a:gd name="connsiteY89" fmla="*/ 1058334 h 1540934"/>
              <a:gd name="connsiteX90" fmla="*/ 4876800 w 7831667"/>
              <a:gd name="connsiteY90" fmla="*/ 1032934 h 1540934"/>
              <a:gd name="connsiteX91" fmla="*/ 4953000 w 7831667"/>
              <a:gd name="connsiteY91" fmla="*/ 982134 h 1540934"/>
              <a:gd name="connsiteX92" fmla="*/ 4995334 w 7831667"/>
              <a:gd name="connsiteY92" fmla="*/ 948267 h 1540934"/>
              <a:gd name="connsiteX93" fmla="*/ 5046134 w 7831667"/>
              <a:gd name="connsiteY93" fmla="*/ 880534 h 1540934"/>
              <a:gd name="connsiteX94" fmla="*/ 5096934 w 7831667"/>
              <a:gd name="connsiteY94" fmla="*/ 812800 h 1540934"/>
              <a:gd name="connsiteX95" fmla="*/ 5122334 w 7831667"/>
              <a:gd name="connsiteY95" fmla="*/ 770467 h 1540934"/>
              <a:gd name="connsiteX96" fmla="*/ 5173134 w 7831667"/>
              <a:gd name="connsiteY96" fmla="*/ 719667 h 1540934"/>
              <a:gd name="connsiteX97" fmla="*/ 5207000 w 7831667"/>
              <a:gd name="connsiteY97" fmla="*/ 660400 h 1540934"/>
              <a:gd name="connsiteX98" fmla="*/ 5266267 w 7831667"/>
              <a:gd name="connsiteY98" fmla="*/ 558800 h 1540934"/>
              <a:gd name="connsiteX99" fmla="*/ 5520267 w 7831667"/>
              <a:gd name="connsiteY99" fmla="*/ 211667 h 1540934"/>
              <a:gd name="connsiteX100" fmla="*/ 5621867 w 7831667"/>
              <a:gd name="connsiteY100" fmla="*/ 135467 h 1540934"/>
              <a:gd name="connsiteX101" fmla="*/ 5655734 w 7831667"/>
              <a:gd name="connsiteY101" fmla="*/ 110067 h 1540934"/>
              <a:gd name="connsiteX102" fmla="*/ 5681134 w 7831667"/>
              <a:gd name="connsiteY102" fmla="*/ 84667 h 1540934"/>
              <a:gd name="connsiteX103" fmla="*/ 5731934 w 7831667"/>
              <a:gd name="connsiteY103" fmla="*/ 50800 h 1540934"/>
              <a:gd name="connsiteX104" fmla="*/ 5791200 w 7831667"/>
              <a:gd name="connsiteY104" fmla="*/ 16934 h 1540934"/>
              <a:gd name="connsiteX105" fmla="*/ 5833534 w 7831667"/>
              <a:gd name="connsiteY105" fmla="*/ 0 h 1540934"/>
              <a:gd name="connsiteX106" fmla="*/ 5952067 w 7831667"/>
              <a:gd name="connsiteY106" fmla="*/ 8467 h 1540934"/>
              <a:gd name="connsiteX107" fmla="*/ 6002867 w 7831667"/>
              <a:gd name="connsiteY107" fmla="*/ 16934 h 1540934"/>
              <a:gd name="connsiteX108" fmla="*/ 6062134 w 7831667"/>
              <a:gd name="connsiteY108" fmla="*/ 59267 h 1540934"/>
              <a:gd name="connsiteX109" fmla="*/ 6087534 w 7831667"/>
              <a:gd name="connsiteY109" fmla="*/ 93134 h 1540934"/>
              <a:gd name="connsiteX110" fmla="*/ 6163734 w 7831667"/>
              <a:gd name="connsiteY110" fmla="*/ 127000 h 1540934"/>
              <a:gd name="connsiteX111" fmla="*/ 6239934 w 7831667"/>
              <a:gd name="connsiteY111" fmla="*/ 152400 h 1540934"/>
              <a:gd name="connsiteX112" fmla="*/ 6307667 w 7831667"/>
              <a:gd name="connsiteY112" fmla="*/ 186267 h 1540934"/>
              <a:gd name="connsiteX113" fmla="*/ 6341534 w 7831667"/>
              <a:gd name="connsiteY113" fmla="*/ 194734 h 1540934"/>
              <a:gd name="connsiteX114" fmla="*/ 6366934 w 7831667"/>
              <a:gd name="connsiteY114" fmla="*/ 211667 h 1540934"/>
              <a:gd name="connsiteX115" fmla="*/ 6426200 w 7831667"/>
              <a:gd name="connsiteY115" fmla="*/ 237067 h 1540934"/>
              <a:gd name="connsiteX116" fmla="*/ 6460067 w 7831667"/>
              <a:gd name="connsiteY116" fmla="*/ 262467 h 1540934"/>
              <a:gd name="connsiteX117" fmla="*/ 6502400 w 7831667"/>
              <a:gd name="connsiteY117" fmla="*/ 287867 h 1540934"/>
              <a:gd name="connsiteX118" fmla="*/ 6544734 w 7831667"/>
              <a:gd name="connsiteY118" fmla="*/ 330200 h 1540934"/>
              <a:gd name="connsiteX119" fmla="*/ 6620934 w 7831667"/>
              <a:gd name="connsiteY119" fmla="*/ 364067 h 1540934"/>
              <a:gd name="connsiteX120" fmla="*/ 6705600 w 7831667"/>
              <a:gd name="connsiteY120" fmla="*/ 431800 h 1540934"/>
              <a:gd name="connsiteX121" fmla="*/ 6756400 w 7831667"/>
              <a:gd name="connsiteY121" fmla="*/ 457200 h 1540934"/>
              <a:gd name="connsiteX122" fmla="*/ 6773334 w 7831667"/>
              <a:gd name="connsiteY122" fmla="*/ 474134 h 1540934"/>
              <a:gd name="connsiteX123" fmla="*/ 6832600 w 7831667"/>
              <a:gd name="connsiteY123" fmla="*/ 516467 h 1540934"/>
              <a:gd name="connsiteX124" fmla="*/ 6874934 w 7831667"/>
              <a:gd name="connsiteY124" fmla="*/ 524934 h 1540934"/>
              <a:gd name="connsiteX125" fmla="*/ 6917267 w 7831667"/>
              <a:gd name="connsiteY125" fmla="*/ 541867 h 1540934"/>
              <a:gd name="connsiteX126" fmla="*/ 7103534 w 7831667"/>
              <a:gd name="connsiteY126" fmla="*/ 524934 h 1540934"/>
              <a:gd name="connsiteX127" fmla="*/ 7239000 w 7831667"/>
              <a:gd name="connsiteY127" fmla="*/ 482600 h 1540934"/>
              <a:gd name="connsiteX128" fmla="*/ 7433734 w 7831667"/>
              <a:gd name="connsiteY128" fmla="*/ 448734 h 1540934"/>
              <a:gd name="connsiteX129" fmla="*/ 7476067 w 7831667"/>
              <a:gd name="connsiteY129" fmla="*/ 474134 h 1540934"/>
              <a:gd name="connsiteX130" fmla="*/ 7526867 w 7831667"/>
              <a:gd name="connsiteY130" fmla="*/ 558800 h 1540934"/>
              <a:gd name="connsiteX131" fmla="*/ 7577667 w 7831667"/>
              <a:gd name="connsiteY131" fmla="*/ 702734 h 1540934"/>
              <a:gd name="connsiteX132" fmla="*/ 7586134 w 7831667"/>
              <a:gd name="connsiteY132" fmla="*/ 745067 h 1540934"/>
              <a:gd name="connsiteX133" fmla="*/ 7628467 w 7831667"/>
              <a:gd name="connsiteY133" fmla="*/ 778934 h 1540934"/>
              <a:gd name="connsiteX134" fmla="*/ 7662334 w 7831667"/>
              <a:gd name="connsiteY134" fmla="*/ 795867 h 1540934"/>
              <a:gd name="connsiteX135" fmla="*/ 7696200 w 7831667"/>
              <a:gd name="connsiteY135" fmla="*/ 821267 h 1540934"/>
              <a:gd name="connsiteX136" fmla="*/ 7730067 w 7831667"/>
              <a:gd name="connsiteY136" fmla="*/ 829734 h 1540934"/>
              <a:gd name="connsiteX137" fmla="*/ 7763934 w 7831667"/>
              <a:gd name="connsiteY137" fmla="*/ 846667 h 1540934"/>
              <a:gd name="connsiteX138" fmla="*/ 7814734 w 7831667"/>
              <a:gd name="connsiteY138" fmla="*/ 897467 h 1540934"/>
              <a:gd name="connsiteX139" fmla="*/ 7831667 w 7831667"/>
              <a:gd name="connsiteY139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842934 w 7831667"/>
              <a:gd name="connsiteY89" fmla="*/ 1058334 h 1540934"/>
              <a:gd name="connsiteX90" fmla="*/ 4953000 w 7831667"/>
              <a:gd name="connsiteY90" fmla="*/ 982134 h 1540934"/>
              <a:gd name="connsiteX91" fmla="*/ 4995334 w 7831667"/>
              <a:gd name="connsiteY91" fmla="*/ 948267 h 1540934"/>
              <a:gd name="connsiteX92" fmla="*/ 5046134 w 7831667"/>
              <a:gd name="connsiteY92" fmla="*/ 880534 h 1540934"/>
              <a:gd name="connsiteX93" fmla="*/ 5096934 w 7831667"/>
              <a:gd name="connsiteY93" fmla="*/ 812800 h 1540934"/>
              <a:gd name="connsiteX94" fmla="*/ 5122334 w 7831667"/>
              <a:gd name="connsiteY94" fmla="*/ 770467 h 1540934"/>
              <a:gd name="connsiteX95" fmla="*/ 5173134 w 7831667"/>
              <a:gd name="connsiteY95" fmla="*/ 719667 h 1540934"/>
              <a:gd name="connsiteX96" fmla="*/ 5207000 w 7831667"/>
              <a:gd name="connsiteY96" fmla="*/ 660400 h 1540934"/>
              <a:gd name="connsiteX97" fmla="*/ 5266267 w 7831667"/>
              <a:gd name="connsiteY97" fmla="*/ 558800 h 1540934"/>
              <a:gd name="connsiteX98" fmla="*/ 5520267 w 7831667"/>
              <a:gd name="connsiteY98" fmla="*/ 211667 h 1540934"/>
              <a:gd name="connsiteX99" fmla="*/ 5621867 w 7831667"/>
              <a:gd name="connsiteY99" fmla="*/ 135467 h 1540934"/>
              <a:gd name="connsiteX100" fmla="*/ 5655734 w 7831667"/>
              <a:gd name="connsiteY100" fmla="*/ 110067 h 1540934"/>
              <a:gd name="connsiteX101" fmla="*/ 5681134 w 7831667"/>
              <a:gd name="connsiteY101" fmla="*/ 84667 h 1540934"/>
              <a:gd name="connsiteX102" fmla="*/ 5731934 w 7831667"/>
              <a:gd name="connsiteY102" fmla="*/ 50800 h 1540934"/>
              <a:gd name="connsiteX103" fmla="*/ 5791200 w 7831667"/>
              <a:gd name="connsiteY103" fmla="*/ 16934 h 1540934"/>
              <a:gd name="connsiteX104" fmla="*/ 5833534 w 7831667"/>
              <a:gd name="connsiteY104" fmla="*/ 0 h 1540934"/>
              <a:gd name="connsiteX105" fmla="*/ 5952067 w 7831667"/>
              <a:gd name="connsiteY105" fmla="*/ 8467 h 1540934"/>
              <a:gd name="connsiteX106" fmla="*/ 6002867 w 7831667"/>
              <a:gd name="connsiteY106" fmla="*/ 16934 h 1540934"/>
              <a:gd name="connsiteX107" fmla="*/ 6062134 w 7831667"/>
              <a:gd name="connsiteY107" fmla="*/ 59267 h 1540934"/>
              <a:gd name="connsiteX108" fmla="*/ 6087534 w 7831667"/>
              <a:gd name="connsiteY108" fmla="*/ 93134 h 1540934"/>
              <a:gd name="connsiteX109" fmla="*/ 6163734 w 7831667"/>
              <a:gd name="connsiteY109" fmla="*/ 127000 h 1540934"/>
              <a:gd name="connsiteX110" fmla="*/ 6239934 w 7831667"/>
              <a:gd name="connsiteY110" fmla="*/ 152400 h 1540934"/>
              <a:gd name="connsiteX111" fmla="*/ 6307667 w 7831667"/>
              <a:gd name="connsiteY111" fmla="*/ 186267 h 1540934"/>
              <a:gd name="connsiteX112" fmla="*/ 6341534 w 7831667"/>
              <a:gd name="connsiteY112" fmla="*/ 194734 h 1540934"/>
              <a:gd name="connsiteX113" fmla="*/ 6366934 w 7831667"/>
              <a:gd name="connsiteY113" fmla="*/ 211667 h 1540934"/>
              <a:gd name="connsiteX114" fmla="*/ 6426200 w 7831667"/>
              <a:gd name="connsiteY114" fmla="*/ 237067 h 1540934"/>
              <a:gd name="connsiteX115" fmla="*/ 6460067 w 7831667"/>
              <a:gd name="connsiteY115" fmla="*/ 262467 h 1540934"/>
              <a:gd name="connsiteX116" fmla="*/ 6502400 w 7831667"/>
              <a:gd name="connsiteY116" fmla="*/ 287867 h 1540934"/>
              <a:gd name="connsiteX117" fmla="*/ 6544734 w 7831667"/>
              <a:gd name="connsiteY117" fmla="*/ 330200 h 1540934"/>
              <a:gd name="connsiteX118" fmla="*/ 6620934 w 7831667"/>
              <a:gd name="connsiteY118" fmla="*/ 364067 h 1540934"/>
              <a:gd name="connsiteX119" fmla="*/ 6705600 w 7831667"/>
              <a:gd name="connsiteY119" fmla="*/ 431800 h 1540934"/>
              <a:gd name="connsiteX120" fmla="*/ 6756400 w 7831667"/>
              <a:gd name="connsiteY120" fmla="*/ 457200 h 1540934"/>
              <a:gd name="connsiteX121" fmla="*/ 6773334 w 7831667"/>
              <a:gd name="connsiteY121" fmla="*/ 474134 h 1540934"/>
              <a:gd name="connsiteX122" fmla="*/ 6832600 w 7831667"/>
              <a:gd name="connsiteY122" fmla="*/ 516467 h 1540934"/>
              <a:gd name="connsiteX123" fmla="*/ 6874934 w 7831667"/>
              <a:gd name="connsiteY123" fmla="*/ 524934 h 1540934"/>
              <a:gd name="connsiteX124" fmla="*/ 6917267 w 7831667"/>
              <a:gd name="connsiteY124" fmla="*/ 541867 h 1540934"/>
              <a:gd name="connsiteX125" fmla="*/ 7103534 w 7831667"/>
              <a:gd name="connsiteY125" fmla="*/ 524934 h 1540934"/>
              <a:gd name="connsiteX126" fmla="*/ 7239000 w 7831667"/>
              <a:gd name="connsiteY126" fmla="*/ 482600 h 1540934"/>
              <a:gd name="connsiteX127" fmla="*/ 7433734 w 7831667"/>
              <a:gd name="connsiteY127" fmla="*/ 448734 h 1540934"/>
              <a:gd name="connsiteX128" fmla="*/ 7476067 w 7831667"/>
              <a:gd name="connsiteY128" fmla="*/ 474134 h 1540934"/>
              <a:gd name="connsiteX129" fmla="*/ 7526867 w 7831667"/>
              <a:gd name="connsiteY129" fmla="*/ 558800 h 1540934"/>
              <a:gd name="connsiteX130" fmla="*/ 7577667 w 7831667"/>
              <a:gd name="connsiteY130" fmla="*/ 702734 h 1540934"/>
              <a:gd name="connsiteX131" fmla="*/ 7586134 w 7831667"/>
              <a:gd name="connsiteY131" fmla="*/ 745067 h 1540934"/>
              <a:gd name="connsiteX132" fmla="*/ 7628467 w 7831667"/>
              <a:gd name="connsiteY132" fmla="*/ 778934 h 1540934"/>
              <a:gd name="connsiteX133" fmla="*/ 7662334 w 7831667"/>
              <a:gd name="connsiteY133" fmla="*/ 795867 h 1540934"/>
              <a:gd name="connsiteX134" fmla="*/ 7696200 w 7831667"/>
              <a:gd name="connsiteY134" fmla="*/ 821267 h 1540934"/>
              <a:gd name="connsiteX135" fmla="*/ 7730067 w 7831667"/>
              <a:gd name="connsiteY135" fmla="*/ 829734 h 1540934"/>
              <a:gd name="connsiteX136" fmla="*/ 7763934 w 7831667"/>
              <a:gd name="connsiteY136" fmla="*/ 846667 h 1540934"/>
              <a:gd name="connsiteX137" fmla="*/ 7814734 w 7831667"/>
              <a:gd name="connsiteY137" fmla="*/ 897467 h 1540934"/>
              <a:gd name="connsiteX138" fmla="*/ 7831667 w 7831667"/>
              <a:gd name="connsiteY138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842934 w 7831667"/>
              <a:gd name="connsiteY89" fmla="*/ 1058334 h 1540934"/>
              <a:gd name="connsiteX90" fmla="*/ 4953000 w 7831667"/>
              <a:gd name="connsiteY90" fmla="*/ 982134 h 1540934"/>
              <a:gd name="connsiteX91" fmla="*/ 4989891 w 7831667"/>
              <a:gd name="connsiteY91" fmla="*/ 872067 h 1540934"/>
              <a:gd name="connsiteX92" fmla="*/ 5046134 w 7831667"/>
              <a:gd name="connsiteY92" fmla="*/ 880534 h 1540934"/>
              <a:gd name="connsiteX93" fmla="*/ 5096934 w 7831667"/>
              <a:gd name="connsiteY93" fmla="*/ 812800 h 1540934"/>
              <a:gd name="connsiteX94" fmla="*/ 5122334 w 7831667"/>
              <a:gd name="connsiteY94" fmla="*/ 770467 h 1540934"/>
              <a:gd name="connsiteX95" fmla="*/ 5173134 w 7831667"/>
              <a:gd name="connsiteY95" fmla="*/ 719667 h 1540934"/>
              <a:gd name="connsiteX96" fmla="*/ 5207000 w 7831667"/>
              <a:gd name="connsiteY96" fmla="*/ 660400 h 1540934"/>
              <a:gd name="connsiteX97" fmla="*/ 5266267 w 7831667"/>
              <a:gd name="connsiteY97" fmla="*/ 558800 h 1540934"/>
              <a:gd name="connsiteX98" fmla="*/ 5520267 w 7831667"/>
              <a:gd name="connsiteY98" fmla="*/ 211667 h 1540934"/>
              <a:gd name="connsiteX99" fmla="*/ 5621867 w 7831667"/>
              <a:gd name="connsiteY99" fmla="*/ 135467 h 1540934"/>
              <a:gd name="connsiteX100" fmla="*/ 5655734 w 7831667"/>
              <a:gd name="connsiteY100" fmla="*/ 110067 h 1540934"/>
              <a:gd name="connsiteX101" fmla="*/ 5681134 w 7831667"/>
              <a:gd name="connsiteY101" fmla="*/ 84667 h 1540934"/>
              <a:gd name="connsiteX102" fmla="*/ 5731934 w 7831667"/>
              <a:gd name="connsiteY102" fmla="*/ 50800 h 1540934"/>
              <a:gd name="connsiteX103" fmla="*/ 5791200 w 7831667"/>
              <a:gd name="connsiteY103" fmla="*/ 16934 h 1540934"/>
              <a:gd name="connsiteX104" fmla="*/ 5833534 w 7831667"/>
              <a:gd name="connsiteY104" fmla="*/ 0 h 1540934"/>
              <a:gd name="connsiteX105" fmla="*/ 5952067 w 7831667"/>
              <a:gd name="connsiteY105" fmla="*/ 8467 h 1540934"/>
              <a:gd name="connsiteX106" fmla="*/ 6002867 w 7831667"/>
              <a:gd name="connsiteY106" fmla="*/ 16934 h 1540934"/>
              <a:gd name="connsiteX107" fmla="*/ 6062134 w 7831667"/>
              <a:gd name="connsiteY107" fmla="*/ 59267 h 1540934"/>
              <a:gd name="connsiteX108" fmla="*/ 6087534 w 7831667"/>
              <a:gd name="connsiteY108" fmla="*/ 93134 h 1540934"/>
              <a:gd name="connsiteX109" fmla="*/ 6163734 w 7831667"/>
              <a:gd name="connsiteY109" fmla="*/ 127000 h 1540934"/>
              <a:gd name="connsiteX110" fmla="*/ 6239934 w 7831667"/>
              <a:gd name="connsiteY110" fmla="*/ 152400 h 1540934"/>
              <a:gd name="connsiteX111" fmla="*/ 6307667 w 7831667"/>
              <a:gd name="connsiteY111" fmla="*/ 186267 h 1540934"/>
              <a:gd name="connsiteX112" fmla="*/ 6341534 w 7831667"/>
              <a:gd name="connsiteY112" fmla="*/ 194734 h 1540934"/>
              <a:gd name="connsiteX113" fmla="*/ 6366934 w 7831667"/>
              <a:gd name="connsiteY113" fmla="*/ 211667 h 1540934"/>
              <a:gd name="connsiteX114" fmla="*/ 6426200 w 7831667"/>
              <a:gd name="connsiteY114" fmla="*/ 237067 h 1540934"/>
              <a:gd name="connsiteX115" fmla="*/ 6460067 w 7831667"/>
              <a:gd name="connsiteY115" fmla="*/ 262467 h 1540934"/>
              <a:gd name="connsiteX116" fmla="*/ 6502400 w 7831667"/>
              <a:gd name="connsiteY116" fmla="*/ 287867 h 1540934"/>
              <a:gd name="connsiteX117" fmla="*/ 6544734 w 7831667"/>
              <a:gd name="connsiteY117" fmla="*/ 330200 h 1540934"/>
              <a:gd name="connsiteX118" fmla="*/ 6620934 w 7831667"/>
              <a:gd name="connsiteY118" fmla="*/ 364067 h 1540934"/>
              <a:gd name="connsiteX119" fmla="*/ 6705600 w 7831667"/>
              <a:gd name="connsiteY119" fmla="*/ 431800 h 1540934"/>
              <a:gd name="connsiteX120" fmla="*/ 6756400 w 7831667"/>
              <a:gd name="connsiteY120" fmla="*/ 457200 h 1540934"/>
              <a:gd name="connsiteX121" fmla="*/ 6773334 w 7831667"/>
              <a:gd name="connsiteY121" fmla="*/ 474134 h 1540934"/>
              <a:gd name="connsiteX122" fmla="*/ 6832600 w 7831667"/>
              <a:gd name="connsiteY122" fmla="*/ 516467 h 1540934"/>
              <a:gd name="connsiteX123" fmla="*/ 6874934 w 7831667"/>
              <a:gd name="connsiteY123" fmla="*/ 524934 h 1540934"/>
              <a:gd name="connsiteX124" fmla="*/ 6917267 w 7831667"/>
              <a:gd name="connsiteY124" fmla="*/ 541867 h 1540934"/>
              <a:gd name="connsiteX125" fmla="*/ 7103534 w 7831667"/>
              <a:gd name="connsiteY125" fmla="*/ 524934 h 1540934"/>
              <a:gd name="connsiteX126" fmla="*/ 7239000 w 7831667"/>
              <a:gd name="connsiteY126" fmla="*/ 482600 h 1540934"/>
              <a:gd name="connsiteX127" fmla="*/ 7433734 w 7831667"/>
              <a:gd name="connsiteY127" fmla="*/ 448734 h 1540934"/>
              <a:gd name="connsiteX128" fmla="*/ 7476067 w 7831667"/>
              <a:gd name="connsiteY128" fmla="*/ 474134 h 1540934"/>
              <a:gd name="connsiteX129" fmla="*/ 7526867 w 7831667"/>
              <a:gd name="connsiteY129" fmla="*/ 558800 h 1540934"/>
              <a:gd name="connsiteX130" fmla="*/ 7577667 w 7831667"/>
              <a:gd name="connsiteY130" fmla="*/ 702734 h 1540934"/>
              <a:gd name="connsiteX131" fmla="*/ 7586134 w 7831667"/>
              <a:gd name="connsiteY131" fmla="*/ 745067 h 1540934"/>
              <a:gd name="connsiteX132" fmla="*/ 7628467 w 7831667"/>
              <a:gd name="connsiteY132" fmla="*/ 778934 h 1540934"/>
              <a:gd name="connsiteX133" fmla="*/ 7662334 w 7831667"/>
              <a:gd name="connsiteY133" fmla="*/ 795867 h 1540934"/>
              <a:gd name="connsiteX134" fmla="*/ 7696200 w 7831667"/>
              <a:gd name="connsiteY134" fmla="*/ 821267 h 1540934"/>
              <a:gd name="connsiteX135" fmla="*/ 7730067 w 7831667"/>
              <a:gd name="connsiteY135" fmla="*/ 829734 h 1540934"/>
              <a:gd name="connsiteX136" fmla="*/ 7763934 w 7831667"/>
              <a:gd name="connsiteY136" fmla="*/ 846667 h 1540934"/>
              <a:gd name="connsiteX137" fmla="*/ 7814734 w 7831667"/>
              <a:gd name="connsiteY137" fmla="*/ 897467 h 1540934"/>
              <a:gd name="connsiteX138" fmla="*/ 7831667 w 7831667"/>
              <a:gd name="connsiteY138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953000 w 7831667"/>
              <a:gd name="connsiteY89" fmla="*/ 982134 h 1540934"/>
              <a:gd name="connsiteX90" fmla="*/ 4989891 w 7831667"/>
              <a:gd name="connsiteY90" fmla="*/ 872067 h 1540934"/>
              <a:gd name="connsiteX91" fmla="*/ 5046134 w 7831667"/>
              <a:gd name="connsiteY91" fmla="*/ 880534 h 1540934"/>
              <a:gd name="connsiteX92" fmla="*/ 5096934 w 7831667"/>
              <a:gd name="connsiteY92" fmla="*/ 812800 h 1540934"/>
              <a:gd name="connsiteX93" fmla="*/ 5122334 w 7831667"/>
              <a:gd name="connsiteY93" fmla="*/ 770467 h 1540934"/>
              <a:gd name="connsiteX94" fmla="*/ 5173134 w 7831667"/>
              <a:gd name="connsiteY94" fmla="*/ 719667 h 1540934"/>
              <a:gd name="connsiteX95" fmla="*/ 5207000 w 7831667"/>
              <a:gd name="connsiteY95" fmla="*/ 660400 h 1540934"/>
              <a:gd name="connsiteX96" fmla="*/ 5266267 w 7831667"/>
              <a:gd name="connsiteY96" fmla="*/ 558800 h 1540934"/>
              <a:gd name="connsiteX97" fmla="*/ 5520267 w 7831667"/>
              <a:gd name="connsiteY97" fmla="*/ 211667 h 1540934"/>
              <a:gd name="connsiteX98" fmla="*/ 5621867 w 7831667"/>
              <a:gd name="connsiteY98" fmla="*/ 135467 h 1540934"/>
              <a:gd name="connsiteX99" fmla="*/ 5655734 w 7831667"/>
              <a:gd name="connsiteY99" fmla="*/ 110067 h 1540934"/>
              <a:gd name="connsiteX100" fmla="*/ 5681134 w 7831667"/>
              <a:gd name="connsiteY100" fmla="*/ 84667 h 1540934"/>
              <a:gd name="connsiteX101" fmla="*/ 5731934 w 7831667"/>
              <a:gd name="connsiteY101" fmla="*/ 50800 h 1540934"/>
              <a:gd name="connsiteX102" fmla="*/ 5791200 w 7831667"/>
              <a:gd name="connsiteY102" fmla="*/ 16934 h 1540934"/>
              <a:gd name="connsiteX103" fmla="*/ 5833534 w 7831667"/>
              <a:gd name="connsiteY103" fmla="*/ 0 h 1540934"/>
              <a:gd name="connsiteX104" fmla="*/ 5952067 w 7831667"/>
              <a:gd name="connsiteY104" fmla="*/ 8467 h 1540934"/>
              <a:gd name="connsiteX105" fmla="*/ 6002867 w 7831667"/>
              <a:gd name="connsiteY105" fmla="*/ 16934 h 1540934"/>
              <a:gd name="connsiteX106" fmla="*/ 6062134 w 7831667"/>
              <a:gd name="connsiteY106" fmla="*/ 59267 h 1540934"/>
              <a:gd name="connsiteX107" fmla="*/ 6087534 w 7831667"/>
              <a:gd name="connsiteY107" fmla="*/ 93134 h 1540934"/>
              <a:gd name="connsiteX108" fmla="*/ 6163734 w 7831667"/>
              <a:gd name="connsiteY108" fmla="*/ 127000 h 1540934"/>
              <a:gd name="connsiteX109" fmla="*/ 6239934 w 7831667"/>
              <a:gd name="connsiteY109" fmla="*/ 152400 h 1540934"/>
              <a:gd name="connsiteX110" fmla="*/ 6307667 w 7831667"/>
              <a:gd name="connsiteY110" fmla="*/ 186267 h 1540934"/>
              <a:gd name="connsiteX111" fmla="*/ 6341534 w 7831667"/>
              <a:gd name="connsiteY111" fmla="*/ 194734 h 1540934"/>
              <a:gd name="connsiteX112" fmla="*/ 6366934 w 7831667"/>
              <a:gd name="connsiteY112" fmla="*/ 211667 h 1540934"/>
              <a:gd name="connsiteX113" fmla="*/ 6426200 w 7831667"/>
              <a:gd name="connsiteY113" fmla="*/ 237067 h 1540934"/>
              <a:gd name="connsiteX114" fmla="*/ 6460067 w 7831667"/>
              <a:gd name="connsiteY114" fmla="*/ 262467 h 1540934"/>
              <a:gd name="connsiteX115" fmla="*/ 6502400 w 7831667"/>
              <a:gd name="connsiteY115" fmla="*/ 287867 h 1540934"/>
              <a:gd name="connsiteX116" fmla="*/ 6544734 w 7831667"/>
              <a:gd name="connsiteY116" fmla="*/ 330200 h 1540934"/>
              <a:gd name="connsiteX117" fmla="*/ 6620934 w 7831667"/>
              <a:gd name="connsiteY117" fmla="*/ 364067 h 1540934"/>
              <a:gd name="connsiteX118" fmla="*/ 6705600 w 7831667"/>
              <a:gd name="connsiteY118" fmla="*/ 431800 h 1540934"/>
              <a:gd name="connsiteX119" fmla="*/ 6756400 w 7831667"/>
              <a:gd name="connsiteY119" fmla="*/ 457200 h 1540934"/>
              <a:gd name="connsiteX120" fmla="*/ 6773334 w 7831667"/>
              <a:gd name="connsiteY120" fmla="*/ 474134 h 1540934"/>
              <a:gd name="connsiteX121" fmla="*/ 6832600 w 7831667"/>
              <a:gd name="connsiteY121" fmla="*/ 516467 h 1540934"/>
              <a:gd name="connsiteX122" fmla="*/ 6874934 w 7831667"/>
              <a:gd name="connsiteY122" fmla="*/ 524934 h 1540934"/>
              <a:gd name="connsiteX123" fmla="*/ 6917267 w 7831667"/>
              <a:gd name="connsiteY123" fmla="*/ 541867 h 1540934"/>
              <a:gd name="connsiteX124" fmla="*/ 7103534 w 7831667"/>
              <a:gd name="connsiteY124" fmla="*/ 524934 h 1540934"/>
              <a:gd name="connsiteX125" fmla="*/ 7239000 w 7831667"/>
              <a:gd name="connsiteY125" fmla="*/ 482600 h 1540934"/>
              <a:gd name="connsiteX126" fmla="*/ 7433734 w 7831667"/>
              <a:gd name="connsiteY126" fmla="*/ 448734 h 1540934"/>
              <a:gd name="connsiteX127" fmla="*/ 7476067 w 7831667"/>
              <a:gd name="connsiteY127" fmla="*/ 474134 h 1540934"/>
              <a:gd name="connsiteX128" fmla="*/ 7526867 w 7831667"/>
              <a:gd name="connsiteY128" fmla="*/ 558800 h 1540934"/>
              <a:gd name="connsiteX129" fmla="*/ 7577667 w 7831667"/>
              <a:gd name="connsiteY129" fmla="*/ 702734 h 1540934"/>
              <a:gd name="connsiteX130" fmla="*/ 7586134 w 7831667"/>
              <a:gd name="connsiteY130" fmla="*/ 745067 h 1540934"/>
              <a:gd name="connsiteX131" fmla="*/ 7628467 w 7831667"/>
              <a:gd name="connsiteY131" fmla="*/ 778934 h 1540934"/>
              <a:gd name="connsiteX132" fmla="*/ 7662334 w 7831667"/>
              <a:gd name="connsiteY132" fmla="*/ 795867 h 1540934"/>
              <a:gd name="connsiteX133" fmla="*/ 7696200 w 7831667"/>
              <a:gd name="connsiteY133" fmla="*/ 821267 h 1540934"/>
              <a:gd name="connsiteX134" fmla="*/ 7730067 w 7831667"/>
              <a:gd name="connsiteY134" fmla="*/ 829734 h 1540934"/>
              <a:gd name="connsiteX135" fmla="*/ 7763934 w 7831667"/>
              <a:gd name="connsiteY135" fmla="*/ 846667 h 1540934"/>
              <a:gd name="connsiteX136" fmla="*/ 7814734 w 7831667"/>
              <a:gd name="connsiteY136" fmla="*/ 897467 h 1540934"/>
              <a:gd name="connsiteX137" fmla="*/ 7831667 w 7831667"/>
              <a:gd name="connsiteY137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989891 w 7831667"/>
              <a:gd name="connsiteY89" fmla="*/ 872067 h 1540934"/>
              <a:gd name="connsiteX90" fmla="*/ 5046134 w 7831667"/>
              <a:gd name="connsiteY90" fmla="*/ 880534 h 1540934"/>
              <a:gd name="connsiteX91" fmla="*/ 5096934 w 7831667"/>
              <a:gd name="connsiteY91" fmla="*/ 812800 h 1540934"/>
              <a:gd name="connsiteX92" fmla="*/ 5122334 w 7831667"/>
              <a:gd name="connsiteY92" fmla="*/ 770467 h 1540934"/>
              <a:gd name="connsiteX93" fmla="*/ 5173134 w 7831667"/>
              <a:gd name="connsiteY93" fmla="*/ 719667 h 1540934"/>
              <a:gd name="connsiteX94" fmla="*/ 5207000 w 7831667"/>
              <a:gd name="connsiteY94" fmla="*/ 660400 h 1540934"/>
              <a:gd name="connsiteX95" fmla="*/ 5266267 w 7831667"/>
              <a:gd name="connsiteY95" fmla="*/ 558800 h 1540934"/>
              <a:gd name="connsiteX96" fmla="*/ 5520267 w 7831667"/>
              <a:gd name="connsiteY96" fmla="*/ 211667 h 1540934"/>
              <a:gd name="connsiteX97" fmla="*/ 5621867 w 7831667"/>
              <a:gd name="connsiteY97" fmla="*/ 135467 h 1540934"/>
              <a:gd name="connsiteX98" fmla="*/ 5655734 w 7831667"/>
              <a:gd name="connsiteY98" fmla="*/ 110067 h 1540934"/>
              <a:gd name="connsiteX99" fmla="*/ 5681134 w 7831667"/>
              <a:gd name="connsiteY99" fmla="*/ 84667 h 1540934"/>
              <a:gd name="connsiteX100" fmla="*/ 5731934 w 7831667"/>
              <a:gd name="connsiteY100" fmla="*/ 50800 h 1540934"/>
              <a:gd name="connsiteX101" fmla="*/ 5791200 w 7831667"/>
              <a:gd name="connsiteY101" fmla="*/ 16934 h 1540934"/>
              <a:gd name="connsiteX102" fmla="*/ 5833534 w 7831667"/>
              <a:gd name="connsiteY102" fmla="*/ 0 h 1540934"/>
              <a:gd name="connsiteX103" fmla="*/ 5952067 w 7831667"/>
              <a:gd name="connsiteY103" fmla="*/ 8467 h 1540934"/>
              <a:gd name="connsiteX104" fmla="*/ 6002867 w 7831667"/>
              <a:gd name="connsiteY104" fmla="*/ 16934 h 1540934"/>
              <a:gd name="connsiteX105" fmla="*/ 6062134 w 7831667"/>
              <a:gd name="connsiteY105" fmla="*/ 59267 h 1540934"/>
              <a:gd name="connsiteX106" fmla="*/ 6087534 w 7831667"/>
              <a:gd name="connsiteY106" fmla="*/ 93134 h 1540934"/>
              <a:gd name="connsiteX107" fmla="*/ 6163734 w 7831667"/>
              <a:gd name="connsiteY107" fmla="*/ 127000 h 1540934"/>
              <a:gd name="connsiteX108" fmla="*/ 6239934 w 7831667"/>
              <a:gd name="connsiteY108" fmla="*/ 152400 h 1540934"/>
              <a:gd name="connsiteX109" fmla="*/ 6307667 w 7831667"/>
              <a:gd name="connsiteY109" fmla="*/ 186267 h 1540934"/>
              <a:gd name="connsiteX110" fmla="*/ 6341534 w 7831667"/>
              <a:gd name="connsiteY110" fmla="*/ 194734 h 1540934"/>
              <a:gd name="connsiteX111" fmla="*/ 6366934 w 7831667"/>
              <a:gd name="connsiteY111" fmla="*/ 211667 h 1540934"/>
              <a:gd name="connsiteX112" fmla="*/ 6426200 w 7831667"/>
              <a:gd name="connsiteY112" fmla="*/ 237067 h 1540934"/>
              <a:gd name="connsiteX113" fmla="*/ 6460067 w 7831667"/>
              <a:gd name="connsiteY113" fmla="*/ 262467 h 1540934"/>
              <a:gd name="connsiteX114" fmla="*/ 6502400 w 7831667"/>
              <a:gd name="connsiteY114" fmla="*/ 287867 h 1540934"/>
              <a:gd name="connsiteX115" fmla="*/ 6544734 w 7831667"/>
              <a:gd name="connsiteY115" fmla="*/ 330200 h 1540934"/>
              <a:gd name="connsiteX116" fmla="*/ 6620934 w 7831667"/>
              <a:gd name="connsiteY116" fmla="*/ 364067 h 1540934"/>
              <a:gd name="connsiteX117" fmla="*/ 6705600 w 7831667"/>
              <a:gd name="connsiteY117" fmla="*/ 431800 h 1540934"/>
              <a:gd name="connsiteX118" fmla="*/ 6756400 w 7831667"/>
              <a:gd name="connsiteY118" fmla="*/ 457200 h 1540934"/>
              <a:gd name="connsiteX119" fmla="*/ 6773334 w 7831667"/>
              <a:gd name="connsiteY119" fmla="*/ 474134 h 1540934"/>
              <a:gd name="connsiteX120" fmla="*/ 6832600 w 7831667"/>
              <a:gd name="connsiteY120" fmla="*/ 516467 h 1540934"/>
              <a:gd name="connsiteX121" fmla="*/ 6874934 w 7831667"/>
              <a:gd name="connsiteY121" fmla="*/ 524934 h 1540934"/>
              <a:gd name="connsiteX122" fmla="*/ 6917267 w 7831667"/>
              <a:gd name="connsiteY122" fmla="*/ 541867 h 1540934"/>
              <a:gd name="connsiteX123" fmla="*/ 7103534 w 7831667"/>
              <a:gd name="connsiteY123" fmla="*/ 524934 h 1540934"/>
              <a:gd name="connsiteX124" fmla="*/ 7239000 w 7831667"/>
              <a:gd name="connsiteY124" fmla="*/ 482600 h 1540934"/>
              <a:gd name="connsiteX125" fmla="*/ 7433734 w 7831667"/>
              <a:gd name="connsiteY125" fmla="*/ 448734 h 1540934"/>
              <a:gd name="connsiteX126" fmla="*/ 7476067 w 7831667"/>
              <a:gd name="connsiteY126" fmla="*/ 474134 h 1540934"/>
              <a:gd name="connsiteX127" fmla="*/ 7526867 w 7831667"/>
              <a:gd name="connsiteY127" fmla="*/ 558800 h 1540934"/>
              <a:gd name="connsiteX128" fmla="*/ 7577667 w 7831667"/>
              <a:gd name="connsiteY128" fmla="*/ 702734 h 1540934"/>
              <a:gd name="connsiteX129" fmla="*/ 7586134 w 7831667"/>
              <a:gd name="connsiteY129" fmla="*/ 745067 h 1540934"/>
              <a:gd name="connsiteX130" fmla="*/ 7628467 w 7831667"/>
              <a:gd name="connsiteY130" fmla="*/ 778934 h 1540934"/>
              <a:gd name="connsiteX131" fmla="*/ 7662334 w 7831667"/>
              <a:gd name="connsiteY131" fmla="*/ 795867 h 1540934"/>
              <a:gd name="connsiteX132" fmla="*/ 7696200 w 7831667"/>
              <a:gd name="connsiteY132" fmla="*/ 821267 h 1540934"/>
              <a:gd name="connsiteX133" fmla="*/ 7730067 w 7831667"/>
              <a:gd name="connsiteY133" fmla="*/ 829734 h 1540934"/>
              <a:gd name="connsiteX134" fmla="*/ 7763934 w 7831667"/>
              <a:gd name="connsiteY134" fmla="*/ 846667 h 1540934"/>
              <a:gd name="connsiteX135" fmla="*/ 7814734 w 7831667"/>
              <a:gd name="connsiteY135" fmla="*/ 897467 h 1540934"/>
              <a:gd name="connsiteX136" fmla="*/ 7831667 w 7831667"/>
              <a:gd name="connsiteY136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989891 w 7831667"/>
              <a:gd name="connsiteY89" fmla="*/ 872067 h 1540934"/>
              <a:gd name="connsiteX90" fmla="*/ 5046134 w 7831667"/>
              <a:gd name="connsiteY90" fmla="*/ 880534 h 1540934"/>
              <a:gd name="connsiteX91" fmla="*/ 5096934 w 7831667"/>
              <a:gd name="connsiteY91" fmla="*/ 812800 h 1540934"/>
              <a:gd name="connsiteX92" fmla="*/ 5122334 w 7831667"/>
              <a:gd name="connsiteY92" fmla="*/ 770467 h 1540934"/>
              <a:gd name="connsiteX93" fmla="*/ 5173134 w 7831667"/>
              <a:gd name="connsiteY93" fmla="*/ 719667 h 1540934"/>
              <a:gd name="connsiteX94" fmla="*/ 5207000 w 7831667"/>
              <a:gd name="connsiteY94" fmla="*/ 660400 h 1540934"/>
              <a:gd name="connsiteX95" fmla="*/ 5266267 w 7831667"/>
              <a:gd name="connsiteY95" fmla="*/ 558800 h 1540934"/>
              <a:gd name="connsiteX96" fmla="*/ 5520267 w 7831667"/>
              <a:gd name="connsiteY96" fmla="*/ 211667 h 1540934"/>
              <a:gd name="connsiteX97" fmla="*/ 5621867 w 7831667"/>
              <a:gd name="connsiteY97" fmla="*/ 135467 h 1540934"/>
              <a:gd name="connsiteX98" fmla="*/ 5655734 w 7831667"/>
              <a:gd name="connsiteY98" fmla="*/ 110067 h 1540934"/>
              <a:gd name="connsiteX99" fmla="*/ 5681134 w 7831667"/>
              <a:gd name="connsiteY99" fmla="*/ 84667 h 1540934"/>
              <a:gd name="connsiteX100" fmla="*/ 5731934 w 7831667"/>
              <a:gd name="connsiteY100" fmla="*/ 50800 h 1540934"/>
              <a:gd name="connsiteX101" fmla="*/ 5791200 w 7831667"/>
              <a:gd name="connsiteY101" fmla="*/ 16934 h 1540934"/>
              <a:gd name="connsiteX102" fmla="*/ 5833534 w 7831667"/>
              <a:gd name="connsiteY102" fmla="*/ 0 h 1540934"/>
              <a:gd name="connsiteX103" fmla="*/ 5952067 w 7831667"/>
              <a:gd name="connsiteY103" fmla="*/ 8467 h 1540934"/>
              <a:gd name="connsiteX104" fmla="*/ 6002867 w 7831667"/>
              <a:gd name="connsiteY104" fmla="*/ 16934 h 1540934"/>
              <a:gd name="connsiteX105" fmla="*/ 6062134 w 7831667"/>
              <a:gd name="connsiteY105" fmla="*/ 59267 h 1540934"/>
              <a:gd name="connsiteX106" fmla="*/ 6087534 w 7831667"/>
              <a:gd name="connsiteY106" fmla="*/ 93134 h 1540934"/>
              <a:gd name="connsiteX107" fmla="*/ 6163734 w 7831667"/>
              <a:gd name="connsiteY107" fmla="*/ 127000 h 1540934"/>
              <a:gd name="connsiteX108" fmla="*/ 6239934 w 7831667"/>
              <a:gd name="connsiteY108" fmla="*/ 152400 h 1540934"/>
              <a:gd name="connsiteX109" fmla="*/ 6307667 w 7831667"/>
              <a:gd name="connsiteY109" fmla="*/ 186267 h 1540934"/>
              <a:gd name="connsiteX110" fmla="*/ 6341534 w 7831667"/>
              <a:gd name="connsiteY110" fmla="*/ 194734 h 1540934"/>
              <a:gd name="connsiteX111" fmla="*/ 6366934 w 7831667"/>
              <a:gd name="connsiteY111" fmla="*/ 211667 h 1540934"/>
              <a:gd name="connsiteX112" fmla="*/ 6426200 w 7831667"/>
              <a:gd name="connsiteY112" fmla="*/ 237067 h 1540934"/>
              <a:gd name="connsiteX113" fmla="*/ 6460067 w 7831667"/>
              <a:gd name="connsiteY113" fmla="*/ 262467 h 1540934"/>
              <a:gd name="connsiteX114" fmla="*/ 6502400 w 7831667"/>
              <a:gd name="connsiteY114" fmla="*/ 287867 h 1540934"/>
              <a:gd name="connsiteX115" fmla="*/ 6544734 w 7831667"/>
              <a:gd name="connsiteY115" fmla="*/ 330200 h 1540934"/>
              <a:gd name="connsiteX116" fmla="*/ 6620934 w 7831667"/>
              <a:gd name="connsiteY116" fmla="*/ 364067 h 1540934"/>
              <a:gd name="connsiteX117" fmla="*/ 6705600 w 7831667"/>
              <a:gd name="connsiteY117" fmla="*/ 431800 h 1540934"/>
              <a:gd name="connsiteX118" fmla="*/ 6756400 w 7831667"/>
              <a:gd name="connsiteY118" fmla="*/ 457200 h 1540934"/>
              <a:gd name="connsiteX119" fmla="*/ 6773334 w 7831667"/>
              <a:gd name="connsiteY119" fmla="*/ 474134 h 1540934"/>
              <a:gd name="connsiteX120" fmla="*/ 6832600 w 7831667"/>
              <a:gd name="connsiteY120" fmla="*/ 516467 h 1540934"/>
              <a:gd name="connsiteX121" fmla="*/ 6874934 w 7831667"/>
              <a:gd name="connsiteY121" fmla="*/ 524934 h 1540934"/>
              <a:gd name="connsiteX122" fmla="*/ 6917267 w 7831667"/>
              <a:gd name="connsiteY122" fmla="*/ 541867 h 1540934"/>
              <a:gd name="connsiteX123" fmla="*/ 7103534 w 7831667"/>
              <a:gd name="connsiteY123" fmla="*/ 524934 h 1540934"/>
              <a:gd name="connsiteX124" fmla="*/ 7239000 w 7831667"/>
              <a:gd name="connsiteY124" fmla="*/ 482600 h 1540934"/>
              <a:gd name="connsiteX125" fmla="*/ 7433734 w 7831667"/>
              <a:gd name="connsiteY125" fmla="*/ 448734 h 1540934"/>
              <a:gd name="connsiteX126" fmla="*/ 7476067 w 7831667"/>
              <a:gd name="connsiteY126" fmla="*/ 474134 h 1540934"/>
              <a:gd name="connsiteX127" fmla="*/ 7526867 w 7831667"/>
              <a:gd name="connsiteY127" fmla="*/ 558800 h 1540934"/>
              <a:gd name="connsiteX128" fmla="*/ 7577667 w 7831667"/>
              <a:gd name="connsiteY128" fmla="*/ 702734 h 1540934"/>
              <a:gd name="connsiteX129" fmla="*/ 7586134 w 7831667"/>
              <a:gd name="connsiteY129" fmla="*/ 745067 h 1540934"/>
              <a:gd name="connsiteX130" fmla="*/ 7628467 w 7831667"/>
              <a:gd name="connsiteY130" fmla="*/ 778934 h 1540934"/>
              <a:gd name="connsiteX131" fmla="*/ 7662334 w 7831667"/>
              <a:gd name="connsiteY131" fmla="*/ 795867 h 1540934"/>
              <a:gd name="connsiteX132" fmla="*/ 7696200 w 7831667"/>
              <a:gd name="connsiteY132" fmla="*/ 821267 h 1540934"/>
              <a:gd name="connsiteX133" fmla="*/ 7730067 w 7831667"/>
              <a:gd name="connsiteY133" fmla="*/ 829734 h 1540934"/>
              <a:gd name="connsiteX134" fmla="*/ 7763934 w 7831667"/>
              <a:gd name="connsiteY134" fmla="*/ 846667 h 1540934"/>
              <a:gd name="connsiteX135" fmla="*/ 7814734 w 7831667"/>
              <a:gd name="connsiteY135" fmla="*/ 897467 h 1540934"/>
              <a:gd name="connsiteX136" fmla="*/ 7831667 w 7831667"/>
              <a:gd name="connsiteY136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460067 w 7831667"/>
              <a:gd name="connsiteY112" fmla="*/ 262467 h 1540934"/>
              <a:gd name="connsiteX113" fmla="*/ 6502400 w 7831667"/>
              <a:gd name="connsiteY113" fmla="*/ 287867 h 1540934"/>
              <a:gd name="connsiteX114" fmla="*/ 6544734 w 7831667"/>
              <a:gd name="connsiteY114" fmla="*/ 330200 h 1540934"/>
              <a:gd name="connsiteX115" fmla="*/ 6620934 w 7831667"/>
              <a:gd name="connsiteY115" fmla="*/ 364067 h 1540934"/>
              <a:gd name="connsiteX116" fmla="*/ 6705600 w 7831667"/>
              <a:gd name="connsiteY116" fmla="*/ 431800 h 1540934"/>
              <a:gd name="connsiteX117" fmla="*/ 6756400 w 7831667"/>
              <a:gd name="connsiteY117" fmla="*/ 457200 h 1540934"/>
              <a:gd name="connsiteX118" fmla="*/ 6773334 w 7831667"/>
              <a:gd name="connsiteY118" fmla="*/ 474134 h 1540934"/>
              <a:gd name="connsiteX119" fmla="*/ 6832600 w 7831667"/>
              <a:gd name="connsiteY119" fmla="*/ 516467 h 1540934"/>
              <a:gd name="connsiteX120" fmla="*/ 6874934 w 7831667"/>
              <a:gd name="connsiteY120" fmla="*/ 524934 h 1540934"/>
              <a:gd name="connsiteX121" fmla="*/ 6917267 w 7831667"/>
              <a:gd name="connsiteY121" fmla="*/ 541867 h 1540934"/>
              <a:gd name="connsiteX122" fmla="*/ 7103534 w 7831667"/>
              <a:gd name="connsiteY122" fmla="*/ 524934 h 1540934"/>
              <a:gd name="connsiteX123" fmla="*/ 7239000 w 7831667"/>
              <a:gd name="connsiteY123" fmla="*/ 482600 h 1540934"/>
              <a:gd name="connsiteX124" fmla="*/ 7433734 w 7831667"/>
              <a:gd name="connsiteY124" fmla="*/ 448734 h 1540934"/>
              <a:gd name="connsiteX125" fmla="*/ 7476067 w 7831667"/>
              <a:gd name="connsiteY125" fmla="*/ 474134 h 1540934"/>
              <a:gd name="connsiteX126" fmla="*/ 7526867 w 7831667"/>
              <a:gd name="connsiteY126" fmla="*/ 558800 h 1540934"/>
              <a:gd name="connsiteX127" fmla="*/ 7577667 w 7831667"/>
              <a:gd name="connsiteY127" fmla="*/ 702734 h 1540934"/>
              <a:gd name="connsiteX128" fmla="*/ 7586134 w 7831667"/>
              <a:gd name="connsiteY128" fmla="*/ 745067 h 1540934"/>
              <a:gd name="connsiteX129" fmla="*/ 7628467 w 7831667"/>
              <a:gd name="connsiteY129" fmla="*/ 778934 h 1540934"/>
              <a:gd name="connsiteX130" fmla="*/ 7662334 w 7831667"/>
              <a:gd name="connsiteY130" fmla="*/ 795867 h 1540934"/>
              <a:gd name="connsiteX131" fmla="*/ 7696200 w 7831667"/>
              <a:gd name="connsiteY131" fmla="*/ 821267 h 1540934"/>
              <a:gd name="connsiteX132" fmla="*/ 7730067 w 7831667"/>
              <a:gd name="connsiteY132" fmla="*/ 829734 h 1540934"/>
              <a:gd name="connsiteX133" fmla="*/ 7763934 w 7831667"/>
              <a:gd name="connsiteY133" fmla="*/ 846667 h 1540934"/>
              <a:gd name="connsiteX134" fmla="*/ 7814734 w 7831667"/>
              <a:gd name="connsiteY134" fmla="*/ 897467 h 1540934"/>
              <a:gd name="connsiteX135" fmla="*/ 7831667 w 7831667"/>
              <a:gd name="connsiteY135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460067 w 7831667"/>
              <a:gd name="connsiteY112" fmla="*/ 262467 h 1540934"/>
              <a:gd name="connsiteX113" fmla="*/ 6502400 w 7831667"/>
              <a:gd name="connsiteY113" fmla="*/ 287867 h 1540934"/>
              <a:gd name="connsiteX114" fmla="*/ 6544734 w 7831667"/>
              <a:gd name="connsiteY114" fmla="*/ 477157 h 1540934"/>
              <a:gd name="connsiteX115" fmla="*/ 6620934 w 7831667"/>
              <a:gd name="connsiteY115" fmla="*/ 364067 h 1540934"/>
              <a:gd name="connsiteX116" fmla="*/ 6705600 w 7831667"/>
              <a:gd name="connsiteY116" fmla="*/ 431800 h 1540934"/>
              <a:gd name="connsiteX117" fmla="*/ 6756400 w 7831667"/>
              <a:gd name="connsiteY117" fmla="*/ 457200 h 1540934"/>
              <a:gd name="connsiteX118" fmla="*/ 6773334 w 7831667"/>
              <a:gd name="connsiteY118" fmla="*/ 474134 h 1540934"/>
              <a:gd name="connsiteX119" fmla="*/ 6832600 w 7831667"/>
              <a:gd name="connsiteY119" fmla="*/ 516467 h 1540934"/>
              <a:gd name="connsiteX120" fmla="*/ 6874934 w 7831667"/>
              <a:gd name="connsiteY120" fmla="*/ 524934 h 1540934"/>
              <a:gd name="connsiteX121" fmla="*/ 6917267 w 7831667"/>
              <a:gd name="connsiteY121" fmla="*/ 541867 h 1540934"/>
              <a:gd name="connsiteX122" fmla="*/ 7103534 w 7831667"/>
              <a:gd name="connsiteY122" fmla="*/ 524934 h 1540934"/>
              <a:gd name="connsiteX123" fmla="*/ 7239000 w 7831667"/>
              <a:gd name="connsiteY123" fmla="*/ 482600 h 1540934"/>
              <a:gd name="connsiteX124" fmla="*/ 7433734 w 7831667"/>
              <a:gd name="connsiteY124" fmla="*/ 448734 h 1540934"/>
              <a:gd name="connsiteX125" fmla="*/ 7476067 w 7831667"/>
              <a:gd name="connsiteY125" fmla="*/ 474134 h 1540934"/>
              <a:gd name="connsiteX126" fmla="*/ 7526867 w 7831667"/>
              <a:gd name="connsiteY126" fmla="*/ 558800 h 1540934"/>
              <a:gd name="connsiteX127" fmla="*/ 7577667 w 7831667"/>
              <a:gd name="connsiteY127" fmla="*/ 702734 h 1540934"/>
              <a:gd name="connsiteX128" fmla="*/ 7586134 w 7831667"/>
              <a:gd name="connsiteY128" fmla="*/ 745067 h 1540934"/>
              <a:gd name="connsiteX129" fmla="*/ 7628467 w 7831667"/>
              <a:gd name="connsiteY129" fmla="*/ 778934 h 1540934"/>
              <a:gd name="connsiteX130" fmla="*/ 7662334 w 7831667"/>
              <a:gd name="connsiteY130" fmla="*/ 795867 h 1540934"/>
              <a:gd name="connsiteX131" fmla="*/ 7696200 w 7831667"/>
              <a:gd name="connsiteY131" fmla="*/ 821267 h 1540934"/>
              <a:gd name="connsiteX132" fmla="*/ 7730067 w 7831667"/>
              <a:gd name="connsiteY132" fmla="*/ 829734 h 1540934"/>
              <a:gd name="connsiteX133" fmla="*/ 7763934 w 7831667"/>
              <a:gd name="connsiteY133" fmla="*/ 846667 h 1540934"/>
              <a:gd name="connsiteX134" fmla="*/ 7814734 w 7831667"/>
              <a:gd name="connsiteY134" fmla="*/ 897467 h 1540934"/>
              <a:gd name="connsiteX135" fmla="*/ 7831667 w 7831667"/>
              <a:gd name="connsiteY135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460067 w 7831667"/>
              <a:gd name="connsiteY112" fmla="*/ 262467 h 1540934"/>
              <a:gd name="connsiteX113" fmla="*/ 6544734 w 7831667"/>
              <a:gd name="connsiteY113" fmla="*/ 477157 h 1540934"/>
              <a:gd name="connsiteX114" fmla="*/ 6620934 w 7831667"/>
              <a:gd name="connsiteY114" fmla="*/ 364067 h 1540934"/>
              <a:gd name="connsiteX115" fmla="*/ 6705600 w 7831667"/>
              <a:gd name="connsiteY115" fmla="*/ 431800 h 1540934"/>
              <a:gd name="connsiteX116" fmla="*/ 6756400 w 7831667"/>
              <a:gd name="connsiteY116" fmla="*/ 457200 h 1540934"/>
              <a:gd name="connsiteX117" fmla="*/ 6773334 w 7831667"/>
              <a:gd name="connsiteY117" fmla="*/ 474134 h 1540934"/>
              <a:gd name="connsiteX118" fmla="*/ 6832600 w 7831667"/>
              <a:gd name="connsiteY118" fmla="*/ 516467 h 1540934"/>
              <a:gd name="connsiteX119" fmla="*/ 6874934 w 7831667"/>
              <a:gd name="connsiteY119" fmla="*/ 524934 h 1540934"/>
              <a:gd name="connsiteX120" fmla="*/ 6917267 w 7831667"/>
              <a:gd name="connsiteY120" fmla="*/ 541867 h 1540934"/>
              <a:gd name="connsiteX121" fmla="*/ 7103534 w 7831667"/>
              <a:gd name="connsiteY121" fmla="*/ 524934 h 1540934"/>
              <a:gd name="connsiteX122" fmla="*/ 7239000 w 7831667"/>
              <a:gd name="connsiteY122" fmla="*/ 482600 h 1540934"/>
              <a:gd name="connsiteX123" fmla="*/ 7433734 w 7831667"/>
              <a:gd name="connsiteY123" fmla="*/ 448734 h 1540934"/>
              <a:gd name="connsiteX124" fmla="*/ 7476067 w 7831667"/>
              <a:gd name="connsiteY124" fmla="*/ 474134 h 1540934"/>
              <a:gd name="connsiteX125" fmla="*/ 7526867 w 7831667"/>
              <a:gd name="connsiteY125" fmla="*/ 558800 h 1540934"/>
              <a:gd name="connsiteX126" fmla="*/ 7577667 w 7831667"/>
              <a:gd name="connsiteY126" fmla="*/ 702734 h 1540934"/>
              <a:gd name="connsiteX127" fmla="*/ 7586134 w 7831667"/>
              <a:gd name="connsiteY127" fmla="*/ 745067 h 1540934"/>
              <a:gd name="connsiteX128" fmla="*/ 7628467 w 7831667"/>
              <a:gd name="connsiteY128" fmla="*/ 778934 h 1540934"/>
              <a:gd name="connsiteX129" fmla="*/ 7662334 w 7831667"/>
              <a:gd name="connsiteY129" fmla="*/ 795867 h 1540934"/>
              <a:gd name="connsiteX130" fmla="*/ 7696200 w 7831667"/>
              <a:gd name="connsiteY130" fmla="*/ 821267 h 1540934"/>
              <a:gd name="connsiteX131" fmla="*/ 7730067 w 7831667"/>
              <a:gd name="connsiteY131" fmla="*/ 829734 h 1540934"/>
              <a:gd name="connsiteX132" fmla="*/ 7763934 w 7831667"/>
              <a:gd name="connsiteY132" fmla="*/ 846667 h 1540934"/>
              <a:gd name="connsiteX133" fmla="*/ 7814734 w 7831667"/>
              <a:gd name="connsiteY133" fmla="*/ 897467 h 1540934"/>
              <a:gd name="connsiteX134" fmla="*/ 7831667 w 7831667"/>
              <a:gd name="connsiteY134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544734 w 7831667"/>
              <a:gd name="connsiteY112" fmla="*/ 477157 h 1540934"/>
              <a:gd name="connsiteX113" fmla="*/ 6620934 w 7831667"/>
              <a:gd name="connsiteY113" fmla="*/ 364067 h 1540934"/>
              <a:gd name="connsiteX114" fmla="*/ 6705600 w 7831667"/>
              <a:gd name="connsiteY114" fmla="*/ 431800 h 1540934"/>
              <a:gd name="connsiteX115" fmla="*/ 6756400 w 7831667"/>
              <a:gd name="connsiteY115" fmla="*/ 457200 h 1540934"/>
              <a:gd name="connsiteX116" fmla="*/ 6773334 w 7831667"/>
              <a:gd name="connsiteY116" fmla="*/ 474134 h 1540934"/>
              <a:gd name="connsiteX117" fmla="*/ 6832600 w 7831667"/>
              <a:gd name="connsiteY117" fmla="*/ 516467 h 1540934"/>
              <a:gd name="connsiteX118" fmla="*/ 6874934 w 7831667"/>
              <a:gd name="connsiteY118" fmla="*/ 524934 h 1540934"/>
              <a:gd name="connsiteX119" fmla="*/ 6917267 w 7831667"/>
              <a:gd name="connsiteY119" fmla="*/ 541867 h 1540934"/>
              <a:gd name="connsiteX120" fmla="*/ 7103534 w 7831667"/>
              <a:gd name="connsiteY120" fmla="*/ 524934 h 1540934"/>
              <a:gd name="connsiteX121" fmla="*/ 7239000 w 7831667"/>
              <a:gd name="connsiteY121" fmla="*/ 482600 h 1540934"/>
              <a:gd name="connsiteX122" fmla="*/ 7433734 w 7831667"/>
              <a:gd name="connsiteY122" fmla="*/ 448734 h 1540934"/>
              <a:gd name="connsiteX123" fmla="*/ 7476067 w 7831667"/>
              <a:gd name="connsiteY123" fmla="*/ 474134 h 1540934"/>
              <a:gd name="connsiteX124" fmla="*/ 7526867 w 7831667"/>
              <a:gd name="connsiteY124" fmla="*/ 558800 h 1540934"/>
              <a:gd name="connsiteX125" fmla="*/ 7577667 w 7831667"/>
              <a:gd name="connsiteY125" fmla="*/ 702734 h 1540934"/>
              <a:gd name="connsiteX126" fmla="*/ 7586134 w 7831667"/>
              <a:gd name="connsiteY126" fmla="*/ 745067 h 1540934"/>
              <a:gd name="connsiteX127" fmla="*/ 7628467 w 7831667"/>
              <a:gd name="connsiteY127" fmla="*/ 778934 h 1540934"/>
              <a:gd name="connsiteX128" fmla="*/ 7662334 w 7831667"/>
              <a:gd name="connsiteY128" fmla="*/ 795867 h 1540934"/>
              <a:gd name="connsiteX129" fmla="*/ 7696200 w 7831667"/>
              <a:gd name="connsiteY129" fmla="*/ 821267 h 1540934"/>
              <a:gd name="connsiteX130" fmla="*/ 7730067 w 7831667"/>
              <a:gd name="connsiteY130" fmla="*/ 829734 h 1540934"/>
              <a:gd name="connsiteX131" fmla="*/ 7763934 w 7831667"/>
              <a:gd name="connsiteY131" fmla="*/ 846667 h 1540934"/>
              <a:gd name="connsiteX132" fmla="*/ 7814734 w 7831667"/>
              <a:gd name="connsiteY132" fmla="*/ 897467 h 1540934"/>
              <a:gd name="connsiteX133" fmla="*/ 7831667 w 7831667"/>
              <a:gd name="connsiteY133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544734 w 7831667"/>
              <a:gd name="connsiteY111" fmla="*/ 477157 h 1540934"/>
              <a:gd name="connsiteX112" fmla="*/ 6620934 w 7831667"/>
              <a:gd name="connsiteY112" fmla="*/ 364067 h 1540934"/>
              <a:gd name="connsiteX113" fmla="*/ 6705600 w 7831667"/>
              <a:gd name="connsiteY113" fmla="*/ 431800 h 1540934"/>
              <a:gd name="connsiteX114" fmla="*/ 6756400 w 7831667"/>
              <a:gd name="connsiteY114" fmla="*/ 457200 h 1540934"/>
              <a:gd name="connsiteX115" fmla="*/ 6773334 w 7831667"/>
              <a:gd name="connsiteY115" fmla="*/ 474134 h 1540934"/>
              <a:gd name="connsiteX116" fmla="*/ 6832600 w 7831667"/>
              <a:gd name="connsiteY116" fmla="*/ 516467 h 1540934"/>
              <a:gd name="connsiteX117" fmla="*/ 6874934 w 7831667"/>
              <a:gd name="connsiteY117" fmla="*/ 524934 h 1540934"/>
              <a:gd name="connsiteX118" fmla="*/ 6917267 w 7831667"/>
              <a:gd name="connsiteY118" fmla="*/ 541867 h 1540934"/>
              <a:gd name="connsiteX119" fmla="*/ 7103534 w 7831667"/>
              <a:gd name="connsiteY119" fmla="*/ 524934 h 1540934"/>
              <a:gd name="connsiteX120" fmla="*/ 7239000 w 7831667"/>
              <a:gd name="connsiteY120" fmla="*/ 482600 h 1540934"/>
              <a:gd name="connsiteX121" fmla="*/ 7433734 w 7831667"/>
              <a:gd name="connsiteY121" fmla="*/ 448734 h 1540934"/>
              <a:gd name="connsiteX122" fmla="*/ 7476067 w 7831667"/>
              <a:gd name="connsiteY122" fmla="*/ 474134 h 1540934"/>
              <a:gd name="connsiteX123" fmla="*/ 7526867 w 7831667"/>
              <a:gd name="connsiteY123" fmla="*/ 558800 h 1540934"/>
              <a:gd name="connsiteX124" fmla="*/ 7577667 w 7831667"/>
              <a:gd name="connsiteY124" fmla="*/ 702734 h 1540934"/>
              <a:gd name="connsiteX125" fmla="*/ 7586134 w 7831667"/>
              <a:gd name="connsiteY125" fmla="*/ 745067 h 1540934"/>
              <a:gd name="connsiteX126" fmla="*/ 7628467 w 7831667"/>
              <a:gd name="connsiteY126" fmla="*/ 778934 h 1540934"/>
              <a:gd name="connsiteX127" fmla="*/ 7662334 w 7831667"/>
              <a:gd name="connsiteY127" fmla="*/ 795867 h 1540934"/>
              <a:gd name="connsiteX128" fmla="*/ 7696200 w 7831667"/>
              <a:gd name="connsiteY128" fmla="*/ 821267 h 1540934"/>
              <a:gd name="connsiteX129" fmla="*/ 7730067 w 7831667"/>
              <a:gd name="connsiteY129" fmla="*/ 829734 h 1540934"/>
              <a:gd name="connsiteX130" fmla="*/ 7763934 w 7831667"/>
              <a:gd name="connsiteY130" fmla="*/ 846667 h 1540934"/>
              <a:gd name="connsiteX131" fmla="*/ 7814734 w 7831667"/>
              <a:gd name="connsiteY131" fmla="*/ 897467 h 1540934"/>
              <a:gd name="connsiteX132" fmla="*/ 7831667 w 7831667"/>
              <a:gd name="connsiteY13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544734 w 7831667"/>
              <a:gd name="connsiteY110" fmla="*/ 477157 h 1540934"/>
              <a:gd name="connsiteX111" fmla="*/ 6620934 w 7831667"/>
              <a:gd name="connsiteY111" fmla="*/ 364067 h 1540934"/>
              <a:gd name="connsiteX112" fmla="*/ 6705600 w 7831667"/>
              <a:gd name="connsiteY112" fmla="*/ 431800 h 1540934"/>
              <a:gd name="connsiteX113" fmla="*/ 6756400 w 7831667"/>
              <a:gd name="connsiteY113" fmla="*/ 457200 h 1540934"/>
              <a:gd name="connsiteX114" fmla="*/ 6773334 w 7831667"/>
              <a:gd name="connsiteY114" fmla="*/ 474134 h 1540934"/>
              <a:gd name="connsiteX115" fmla="*/ 6832600 w 7831667"/>
              <a:gd name="connsiteY115" fmla="*/ 516467 h 1540934"/>
              <a:gd name="connsiteX116" fmla="*/ 6874934 w 7831667"/>
              <a:gd name="connsiteY116" fmla="*/ 524934 h 1540934"/>
              <a:gd name="connsiteX117" fmla="*/ 6917267 w 7831667"/>
              <a:gd name="connsiteY117" fmla="*/ 541867 h 1540934"/>
              <a:gd name="connsiteX118" fmla="*/ 7103534 w 7831667"/>
              <a:gd name="connsiteY118" fmla="*/ 524934 h 1540934"/>
              <a:gd name="connsiteX119" fmla="*/ 7239000 w 7831667"/>
              <a:gd name="connsiteY119" fmla="*/ 482600 h 1540934"/>
              <a:gd name="connsiteX120" fmla="*/ 7433734 w 7831667"/>
              <a:gd name="connsiteY120" fmla="*/ 448734 h 1540934"/>
              <a:gd name="connsiteX121" fmla="*/ 7476067 w 7831667"/>
              <a:gd name="connsiteY121" fmla="*/ 474134 h 1540934"/>
              <a:gd name="connsiteX122" fmla="*/ 7526867 w 7831667"/>
              <a:gd name="connsiteY122" fmla="*/ 558800 h 1540934"/>
              <a:gd name="connsiteX123" fmla="*/ 7577667 w 7831667"/>
              <a:gd name="connsiteY123" fmla="*/ 702734 h 1540934"/>
              <a:gd name="connsiteX124" fmla="*/ 7586134 w 7831667"/>
              <a:gd name="connsiteY124" fmla="*/ 745067 h 1540934"/>
              <a:gd name="connsiteX125" fmla="*/ 7628467 w 7831667"/>
              <a:gd name="connsiteY125" fmla="*/ 778934 h 1540934"/>
              <a:gd name="connsiteX126" fmla="*/ 7662334 w 7831667"/>
              <a:gd name="connsiteY126" fmla="*/ 795867 h 1540934"/>
              <a:gd name="connsiteX127" fmla="*/ 7696200 w 7831667"/>
              <a:gd name="connsiteY127" fmla="*/ 821267 h 1540934"/>
              <a:gd name="connsiteX128" fmla="*/ 7730067 w 7831667"/>
              <a:gd name="connsiteY128" fmla="*/ 829734 h 1540934"/>
              <a:gd name="connsiteX129" fmla="*/ 7763934 w 7831667"/>
              <a:gd name="connsiteY129" fmla="*/ 846667 h 1540934"/>
              <a:gd name="connsiteX130" fmla="*/ 7814734 w 7831667"/>
              <a:gd name="connsiteY130" fmla="*/ 897467 h 1540934"/>
              <a:gd name="connsiteX131" fmla="*/ 7831667 w 7831667"/>
              <a:gd name="connsiteY131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544734 w 7831667"/>
              <a:gd name="connsiteY109" fmla="*/ 477157 h 1540934"/>
              <a:gd name="connsiteX110" fmla="*/ 6620934 w 7831667"/>
              <a:gd name="connsiteY110" fmla="*/ 364067 h 1540934"/>
              <a:gd name="connsiteX111" fmla="*/ 6705600 w 7831667"/>
              <a:gd name="connsiteY111" fmla="*/ 431800 h 1540934"/>
              <a:gd name="connsiteX112" fmla="*/ 6756400 w 7831667"/>
              <a:gd name="connsiteY112" fmla="*/ 457200 h 1540934"/>
              <a:gd name="connsiteX113" fmla="*/ 6773334 w 7831667"/>
              <a:gd name="connsiteY113" fmla="*/ 474134 h 1540934"/>
              <a:gd name="connsiteX114" fmla="*/ 6832600 w 7831667"/>
              <a:gd name="connsiteY114" fmla="*/ 516467 h 1540934"/>
              <a:gd name="connsiteX115" fmla="*/ 6874934 w 7831667"/>
              <a:gd name="connsiteY115" fmla="*/ 524934 h 1540934"/>
              <a:gd name="connsiteX116" fmla="*/ 6917267 w 7831667"/>
              <a:gd name="connsiteY116" fmla="*/ 541867 h 1540934"/>
              <a:gd name="connsiteX117" fmla="*/ 7103534 w 7831667"/>
              <a:gd name="connsiteY117" fmla="*/ 524934 h 1540934"/>
              <a:gd name="connsiteX118" fmla="*/ 7239000 w 7831667"/>
              <a:gd name="connsiteY118" fmla="*/ 482600 h 1540934"/>
              <a:gd name="connsiteX119" fmla="*/ 7433734 w 7831667"/>
              <a:gd name="connsiteY119" fmla="*/ 448734 h 1540934"/>
              <a:gd name="connsiteX120" fmla="*/ 7476067 w 7831667"/>
              <a:gd name="connsiteY120" fmla="*/ 474134 h 1540934"/>
              <a:gd name="connsiteX121" fmla="*/ 7526867 w 7831667"/>
              <a:gd name="connsiteY121" fmla="*/ 558800 h 1540934"/>
              <a:gd name="connsiteX122" fmla="*/ 7577667 w 7831667"/>
              <a:gd name="connsiteY122" fmla="*/ 702734 h 1540934"/>
              <a:gd name="connsiteX123" fmla="*/ 7586134 w 7831667"/>
              <a:gd name="connsiteY123" fmla="*/ 745067 h 1540934"/>
              <a:gd name="connsiteX124" fmla="*/ 7628467 w 7831667"/>
              <a:gd name="connsiteY124" fmla="*/ 778934 h 1540934"/>
              <a:gd name="connsiteX125" fmla="*/ 7662334 w 7831667"/>
              <a:gd name="connsiteY125" fmla="*/ 795867 h 1540934"/>
              <a:gd name="connsiteX126" fmla="*/ 7696200 w 7831667"/>
              <a:gd name="connsiteY126" fmla="*/ 821267 h 1540934"/>
              <a:gd name="connsiteX127" fmla="*/ 7730067 w 7831667"/>
              <a:gd name="connsiteY127" fmla="*/ 829734 h 1540934"/>
              <a:gd name="connsiteX128" fmla="*/ 7763934 w 7831667"/>
              <a:gd name="connsiteY128" fmla="*/ 846667 h 1540934"/>
              <a:gd name="connsiteX129" fmla="*/ 7814734 w 7831667"/>
              <a:gd name="connsiteY129" fmla="*/ 897467 h 1540934"/>
              <a:gd name="connsiteX130" fmla="*/ 7831667 w 7831667"/>
              <a:gd name="connsiteY130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544734 w 7831667"/>
              <a:gd name="connsiteY108" fmla="*/ 477157 h 1540934"/>
              <a:gd name="connsiteX109" fmla="*/ 6620934 w 7831667"/>
              <a:gd name="connsiteY109" fmla="*/ 364067 h 1540934"/>
              <a:gd name="connsiteX110" fmla="*/ 6705600 w 7831667"/>
              <a:gd name="connsiteY110" fmla="*/ 431800 h 1540934"/>
              <a:gd name="connsiteX111" fmla="*/ 6756400 w 7831667"/>
              <a:gd name="connsiteY111" fmla="*/ 457200 h 1540934"/>
              <a:gd name="connsiteX112" fmla="*/ 6773334 w 7831667"/>
              <a:gd name="connsiteY112" fmla="*/ 474134 h 1540934"/>
              <a:gd name="connsiteX113" fmla="*/ 6832600 w 7831667"/>
              <a:gd name="connsiteY113" fmla="*/ 516467 h 1540934"/>
              <a:gd name="connsiteX114" fmla="*/ 6874934 w 7831667"/>
              <a:gd name="connsiteY114" fmla="*/ 524934 h 1540934"/>
              <a:gd name="connsiteX115" fmla="*/ 6917267 w 7831667"/>
              <a:gd name="connsiteY115" fmla="*/ 541867 h 1540934"/>
              <a:gd name="connsiteX116" fmla="*/ 7103534 w 7831667"/>
              <a:gd name="connsiteY116" fmla="*/ 524934 h 1540934"/>
              <a:gd name="connsiteX117" fmla="*/ 7239000 w 7831667"/>
              <a:gd name="connsiteY117" fmla="*/ 482600 h 1540934"/>
              <a:gd name="connsiteX118" fmla="*/ 7433734 w 7831667"/>
              <a:gd name="connsiteY118" fmla="*/ 448734 h 1540934"/>
              <a:gd name="connsiteX119" fmla="*/ 7476067 w 7831667"/>
              <a:gd name="connsiteY119" fmla="*/ 474134 h 1540934"/>
              <a:gd name="connsiteX120" fmla="*/ 7526867 w 7831667"/>
              <a:gd name="connsiteY120" fmla="*/ 558800 h 1540934"/>
              <a:gd name="connsiteX121" fmla="*/ 7577667 w 7831667"/>
              <a:gd name="connsiteY121" fmla="*/ 702734 h 1540934"/>
              <a:gd name="connsiteX122" fmla="*/ 7586134 w 7831667"/>
              <a:gd name="connsiteY122" fmla="*/ 745067 h 1540934"/>
              <a:gd name="connsiteX123" fmla="*/ 7628467 w 7831667"/>
              <a:gd name="connsiteY123" fmla="*/ 778934 h 1540934"/>
              <a:gd name="connsiteX124" fmla="*/ 7662334 w 7831667"/>
              <a:gd name="connsiteY124" fmla="*/ 795867 h 1540934"/>
              <a:gd name="connsiteX125" fmla="*/ 7696200 w 7831667"/>
              <a:gd name="connsiteY125" fmla="*/ 821267 h 1540934"/>
              <a:gd name="connsiteX126" fmla="*/ 7730067 w 7831667"/>
              <a:gd name="connsiteY126" fmla="*/ 829734 h 1540934"/>
              <a:gd name="connsiteX127" fmla="*/ 7763934 w 7831667"/>
              <a:gd name="connsiteY127" fmla="*/ 846667 h 1540934"/>
              <a:gd name="connsiteX128" fmla="*/ 7814734 w 7831667"/>
              <a:gd name="connsiteY128" fmla="*/ 897467 h 1540934"/>
              <a:gd name="connsiteX129" fmla="*/ 7831667 w 7831667"/>
              <a:gd name="connsiteY129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544734 w 7831667"/>
              <a:gd name="connsiteY107" fmla="*/ 477157 h 1540934"/>
              <a:gd name="connsiteX108" fmla="*/ 6620934 w 7831667"/>
              <a:gd name="connsiteY108" fmla="*/ 364067 h 1540934"/>
              <a:gd name="connsiteX109" fmla="*/ 6705600 w 7831667"/>
              <a:gd name="connsiteY109" fmla="*/ 431800 h 1540934"/>
              <a:gd name="connsiteX110" fmla="*/ 6756400 w 7831667"/>
              <a:gd name="connsiteY110" fmla="*/ 457200 h 1540934"/>
              <a:gd name="connsiteX111" fmla="*/ 6773334 w 7831667"/>
              <a:gd name="connsiteY111" fmla="*/ 474134 h 1540934"/>
              <a:gd name="connsiteX112" fmla="*/ 6832600 w 7831667"/>
              <a:gd name="connsiteY112" fmla="*/ 516467 h 1540934"/>
              <a:gd name="connsiteX113" fmla="*/ 6874934 w 7831667"/>
              <a:gd name="connsiteY113" fmla="*/ 524934 h 1540934"/>
              <a:gd name="connsiteX114" fmla="*/ 6917267 w 7831667"/>
              <a:gd name="connsiteY114" fmla="*/ 541867 h 1540934"/>
              <a:gd name="connsiteX115" fmla="*/ 7103534 w 7831667"/>
              <a:gd name="connsiteY115" fmla="*/ 524934 h 1540934"/>
              <a:gd name="connsiteX116" fmla="*/ 7239000 w 7831667"/>
              <a:gd name="connsiteY116" fmla="*/ 482600 h 1540934"/>
              <a:gd name="connsiteX117" fmla="*/ 7433734 w 7831667"/>
              <a:gd name="connsiteY117" fmla="*/ 448734 h 1540934"/>
              <a:gd name="connsiteX118" fmla="*/ 7476067 w 7831667"/>
              <a:gd name="connsiteY118" fmla="*/ 474134 h 1540934"/>
              <a:gd name="connsiteX119" fmla="*/ 7526867 w 7831667"/>
              <a:gd name="connsiteY119" fmla="*/ 558800 h 1540934"/>
              <a:gd name="connsiteX120" fmla="*/ 7577667 w 7831667"/>
              <a:gd name="connsiteY120" fmla="*/ 702734 h 1540934"/>
              <a:gd name="connsiteX121" fmla="*/ 7586134 w 7831667"/>
              <a:gd name="connsiteY121" fmla="*/ 745067 h 1540934"/>
              <a:gd name="connsiteX122" fmla="*/ 7628467 w 7831667"/>
              <a:gd name="connsiteY122" fmla="*/ 778934 h 1540934"/>
              <a:gd name="connsiteX123" fmla="*/ 7662334 w 7831667"/>
              <a:gd name="connsiteY123" fmla="*/ 795867 h 1540934"/>
              <a:gd name="connsiteX124" fmla="*/ 7696200 w 7831667"/>
              <a:gd name="connsiteY124" fmla="*/ 821267 h 1540934"/>
              <a:gd name="connsiteX125" fmla="*/ 7730067 w 7831667"/>
              <a:gd name="connsiteY125" fmla="*/ 829734 h 1540934"/>
              <a:gd name="connsiteX126" fmla="*/ 7763934 w 7831667"/>
              <a:gd name="connsiteY126" fmla="*/ 846667 h 1540934"/>
              <a:gd name="connsiteX127" fmla="*/ 7814734 w 7831667"/>
              <a:gd name="connsiteY127" fmla="*/ 897467 h 1540934"/>
              <a:gd name="connsiteX128" fmla="*/ 7831667 w 7831667"/>
              <a:gd name="connsiteY128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544734 w 7831667"/>
              <a:gd name="connsiteY106" fmla="*/ 477157 h 1540934"/>
              <a:gd name="connsiteX107" fmla="*/ 6620934 w 7831667"/>
              <a:gd name="connsiteY107" fmla="*/ 364067 h 1540934"/>
              <a:gd name="connsiteX108" fmla="*/ 6705600 w 7831667"/>
              <a:gd name="connsiteY108" fmla="*/ 431800 h 1540934"/>
              <a:gd name="connsiteX109" fmla="*/ 6756400 w 7831667"/>
              <a:gd name="connsiteY109" fmla="*/ 457200 h 1540934"/>
              <a:gd name="connsiteX110" fmla="*/ 6773334 w 7831667"/>
              <a:gd name="connsiteY110" fmla="*/ 474134 h 1540934"/>
              <a:gd name="connsiteX111" fmla="*/ 6832600 w 7831667"/>
              <a:gd name="connsiteY111" fmla="*/ 516467 h 1540934"/>
              <a:gd name="connsiteX112" fmla="*/ 6874934 w 7831667"/>
              <a:gd name="connsiteY112" fmla="*/ 524934 h 1540934"/>
              <a:gd name="connsiteX113" fmla="*/ 6917267 w 7831667"/>
              <a:gd name="connsiteY113" fmla="*/ 541867 h 1540934"/>
              <a:gd name="connsiteX114" fmla="*/ 7103534 w 7831667"/>
              <a:gd name="connsiteY114" fmla="*/ 524934 h 1540934"/>
              <a:gd name="connsiteX115" fmla="*/ 7239000 w 7831667"/>
              <a:gd name="connsiteY115" fmla="*/ 482600 h 1540934"/>
              <a:gd name="connsiteX116" fmla="*/ 7433734 w 7831667"/>
              <a:gd name="connsiteY116" fmla="*/ 448734 h 1540934"/>
              <a:gd name="connsiteX117" fmla="*/ 7476067 w 7831667"/>
              <a:gd name="connsiteY117" fmla="*/ 474134 h 1540934"/>
              <a:gd name="connsiteX118" fmla="*/ 7526867 w 7831667"/>
              <a:gd name="connsiteY118" fmla="*/ 558800 h 1540934"/>
              <a:gd name="connsiteX119" fmla="*/ 7577667 w 7831667"/>
              <a:gd name="connsiteY119" fmla="*/ 702734 h 1540934"/>
              <a:gd name="connsiteX120" fmla="*/ 7586134 w 7831667"/>
              <a:gd name="connsiteY120" fmla="*/ 745067 h 1540934"/>
              <a:gd name="connsiteX121" fmla="*/ 7628467 w 7831667"/>
              <a:gd name="connsiteY121" fmla="*/ 778934 h 1540934"/>
              <a:gd name="connsiteX122" fmla="*/ 7662334 w 7831667"/>
              <a:gd name="connsiteY122" fmla="*/ 795867 h 1540934"/>
              <a:gd name="connsiteX123" fmla="*/ 7696200 w 7831667"/>
              <a:gd name="connsiteY123" fmla="*/ 821267 h 1540934"/>
              <a:gd name="connsiteX124" fmla="*/ 7730067 w 7831667"/>
              <a:gd name="connsiteY124" fmla="*/ 829734 h 1540934"/>
              <a:gd name="connsiteX125" fmla="*/ 7763934 w 7831667"/>
              <a:gd name="connsiteY125" fmla="*/ 846667 h 1540934"/>
              <a:gd name="connsiteX126" fmla="*/ 7814734 w 7831667"/>
              <a:gd name="connsiteY126" fmla="*/ 897467 h 1540934"/>
              <a:gd name="connsiteX127" fmla="*/ 7831667 w 7831667"/>
              <a:gd name="connsiteY127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2091 w 7831667"/>
              <a:gd name="connsiteY105" fmla="*/ 131234 h 1540934"/>
              <a:gd name="connsiteX106" fmla="*/ 6544734 w 7831667"/>
              <a:gd name="connsiteY106" fmla="*/ 477157 h 1540934"/>
              <a:gd name="connsiteX107" fmla="*/ 6620934 w 7831667"/>
              <a:gd name="connsiteY107" fmla="*/ 364067 h 1540934"/>
              <a:gd name="connsiteX108" fmla="*/ 6705600 w 7831667"/>
              <a:gd name="connsiteY108" fmla="*/ 431800 h 1540934"/>
              <a:gd name="connsiteX109" fmla="*/ 6756400 w 7831667"/>
              <a:gd name="connsiteY109" fmla="*/ 457200 h 1540934"/>
              <a:gd name="connsiteX110" fmla="*/ 6773334 w 7831667"/>
              <a:gd name="connsiteY110" fmla="*/ 474134 h 1540934"/>
              <a:gd name="connsiteX111" fmla="*/ 6832600 w 7831667"/>
              <a:gd name="connsiteY111" fmla="*/ 516467 h 1540934"/>
              <a:gd name="connsiteX112" fmla="*/ 6874934 w 7831667"/>
              <a:gd name="connsiteY112" fmla="*/ 524934 h 1540934"/>
              <a:gd name="connsiteX113" fmla="*/ 6917267 w 7831667"/>
              <a:gd name="connsiteY113" fmla="*/ 541867 h 1540934"/>
              <a:gd name="connsiteX114" fmla="*/ 7103534 w 7831667"/>
              <a:gd name="connsiteY114" fmla="*/ 524934 h 1540934"/>
              <a:gd name="connsiteX115" fmla="*/ 7239000 w 7831667"/>
              <a:gd name="connsiteY115" fmla="*/ 482600 h 1540934"/>
              <a:gd name="connsiteX116" fmla="*/ 7433734 w 7831667"/>
              <a:gd name="connsiteY116" fmla="*/ 448734 h 1540934"/>
              <a:gd name="connsiteX117" fmla="*/ 7476067 w 7831667"/>
              <a:gd name="connsiteY117" fmla="*/ 474134 h 1540934"/>
              <a:gd name="connsiteX118" fmla="*/ 7526867 w 7831667"/>
              <a:gd name="connsiteY118" fmla="*/ 558800 h 1540934"/>
              <a:gd name="connsiteX119" fmla="*/ 7577667 w 7831667"/>
              <a:gd name="connsiteY119" fmla="*/ 702734 h 1540934"/>
              <a:gd name="connsiteX120" fmla="*/ 7586134 w 7831667"/>
              <a:gd name="connsiteY120" fmla="*/ 745067 h 1540934"/>
              <a:gd name="connsiteX121" fmla="*/ 7628467 w 7831667"/>
              <a:gd name="connsiteY121" fmla="*/ 778934 h 1540934"/>
              <a:gd name="connsiteX122" fmla="*/ 7662334 w 7831667"/>
              <a:gd name="connsiteY122" fmla="*/ 795867 h 1540934"/>
              <a:gd name="connsiteX123" fmla="*/ 7696200 w 7831667"/>
              <a:gd name="connsiteY123" fmla="*/ 821267 h 1540934"/>
              <a:gd name="connsiteX124" fmla="*/ 7730067 w 7831667"/>
              <a:gd name="connsiteY124" fmla="*/ 829734 h 1540934"/>
              <a:gd name="connsiteX125" fmla="*/ 7763934 w 7831667"/>
              <a:gd name="connsiteY125" fmla="*/ 846667 h 1540934"/>
              <a:gd name="connsiteX126" fmla="*/ 7814734 w 7831667"/>
              <a:gd name="connsiteY126" fmla="*/ 897467 h 1540934"/>
              <a:gd name="connsiteX127" fmla="*/ 7831667 w 7831667"/>
              <a:gd name="connsiteY127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82091 w 7831667"/>
              <a:gd name="connsiteY104" fmla="*/ 131234 h 1540934"/>
              <a:gd name="connsiteX105" fmla="*/ 6544734 w 7831667"/>
              <a:gd name="connsiteY105" fmla="*/ 477157 h 1540934"/>
              <a:gd name="connsiteX106" fmla="*/ 6620934 w 7831667"/>
              <a:gd name="connsiteY106" fmla="*/ 364067 h 1540934"/>
              <a:gd name="connsiteX107" fmla="*/ 6705600 w 7831667"/>
              <a:gd name="connsiteY107" fmla="*/ 431800 h 1540934"/>
              <a:gd name="connsiteX108" fmla="*/ 6756400 w 7831667"/>
              <a:gd name="connsiteY108" fmla="*/ 457200 h 1540934"/>
              <a:gd name="connsiteX109" fmla="*/ 6773334 w 7831667"/>
              <a:gd name="connsiteY109" fmla="*/ 474134 h 1540934"/>
              <a:gd name="connsiteX110" fmla="*/ 6832600 w 7831667"/>
              <a:gd name="connsiteY110" fmla="*/ 516467 h 1540934"/>
              <a:gd name="connsiteX111" fmla="*/ 6874934 w 7831667"/>
              <a:gd name="connsiteY111" fmla="*/ 524934 h 1540934"/>
              <a:gd name="connsiteX112" fmla="*/ 6917267 w 7831667"/>
              <a:gd name="connsiteY112" fmla="*/ 541867 h 1540934"/>
              <a:gd name="connsiteX113" fmla="*/ 7103534 w 7831667"/>
              <a:gd name="connsiteY113" fmla="*/ 524934 h 1540934"/>
              <a:gd name="connsiteX114" fmla="*/ 7239000 w 7831667"/>
              <a:gd name="connsiteY114" fmla="*/ 482600 h 1540934"/>
              <a:gd name="connsiteX115" fmla="*/ 7433734 w 7831667"/>
              <a:gd name="connsiteY115" fmla="*/ 448734 h 1540934"/>
              <a:gd name="connsiteX116" fmla="*/ 7476067 w 7831667"/>
              <a:gd name="connsiteY116" fmla="*/ 474134 h 1540934"/>
              <a:gd name="connsiteX117" fmla="*/ 7526867 w 7831667"/>
              <a:gd name="connsiteY117" fmla="*/ 558800 h 1540934"/>
              <a:gd name="connsiteX118" fmla="*/ 7577667 w 7831667"/>
              <a:gd name="connsiteY118" fmla="*/ 702734 h 1540934"/>
              <a:gd name="connsiteX119" fmla="*/ 7586134 w 7831667"/>
              <a:gd name="connsiteY119" fmla="*/ 745067 h 1540934"/>
              <a:gd name="connsiteX120" fmla="*/ 7628467 w 7831667"/>
              <a:gd name="connsiteY120" fmla="*/ 778934 h 1540934"/>
              <a:gd name="connsiteX121" fmla="*/ 7662334 w 7831667"/>
              <a:gd name="connsiteY121" fmla="*/ 795867 h 1540934"/>
              <a:gd name="connsiteX122" fmla="*/ 7696200 w 7831667"/>
              <a:gd name="connsiteY122" fmla="*/ 821267 h 1540934"/>
              <a:gd name="connsiteX123" fmla="*/ 7730067 w 7831667"/>
              <a:gd name="connsiteY123" fmla="*/ 829734 h 1540934"/>
              <a:gd name="connsiteX124" fmla="*/ 7763934 w 7831667"/>
              <a:gd name="connsiteY124" fmla="*/ 846667 h 1540934"/>
              <a:gd name="connsiteX125" fmla="*/ 7814734 w 7831667"/>
              <a:gd name="connsiteY125" fmla="*/ 897467 h 1540934"/>
              <a:gd name="connsiteX126" fmla="*/ 7831667 w 7831667"/>
              <a:gd name="connsiteY126" fmla="*/ 922867 h 1540934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74934 w 7831667"/>
              <a:gd name="connsiteY110" fmla="*/ 528097 h 1544097"/>
              <a:gd name="connsiteX111" fmla="*/ 6917267 w 7831667"/>
              <a:gd name="connsiteY111" fmla="*/ 545030 h 1544097"/>
              <a:gd name="connsiteX112" fmla="*/ 7103534 w 7831667"/>
              <a:gd name="connsiteY112" fmla="*/ 528097 h 1544097"/>
              <a:gd name="connsiteX113" fmla="*/ 7239000 w 7831667"/>
              <a:gd name="connsiteY113" fmla="*/ 485763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17267 w 7831667"/>
              <a:gd name="connsiteY111" fmla="*/ 545030 h 1544097"/>
              <a:gd name="connsiteX112" fmla="*/ 7103534 w 7831667"/>
              <a:gd name="connsiteY112" fmla="*/ 528097 h 1544097"/>
              <a:gd name="connsiteX113" fmla="*/ 7239000 w 7831667"/>
              <a:gd name="connsiteY113" fmla="*/ 485763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93467 w 7831667"/>
              <a:gd name="connsiteY111" fmla="*/ 594016 h 1544097"/>
              <a:gd name="connsiteX112" fmla="*/ 7103534 w 7831667"/>
              <a:gd name="connsiteY112" fmla="*/ 528097 h 1544097"/>
              <a:gd name="connsiteX113" fmla="*/ 7239000 w 7831667"/>
              <a:gd name="connsiteY113" fmla="*/ 485763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93467 w 7831667"/>
              <a:gd name="connsiteY111" fmla="*/ 594016 h 1544097"/>
              <a:gd name="connsiteX112" fmla="*/ 7103534 w 7831667"/>
              <a:gd name="connsiteY112" fmla="*/ 528097 h 1544097"/>
              <a:gd name="connsiteX113" fmla="*/ 7190015 w 7831667"/>
              <a:gd name="connsiteY113" fmla="*/ 556520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93467 w 7831667"/>
              <a:gd name="connsiteY111" fmla="*/ 594016 h 1544097"/>
              <a:gd name="connsiteX112" fmla="*/ 7103534 w 7831667"/>
              <a:gd name="connsiteY112" fmla="*/ 528097 h 1544097"/>
              <a:gd name="connsiteX113" fmla="*/ 7190015 w 7831667"/>
              <a:gd name="connsiteY113" fmla="*/ 556520 h 1544097"/>
              <a:gd name="connsiteX114" fmla="*/ 7335763 w 7831667"/>
              <a:gd name="connsiteY114" fmla="*/ 484554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705600 w 7831667"/>
              <a:gd name="connsiteY105" fmla="*/ 434963 h 1544097"/>
              <a:gd name="connsiteX106" fmla="*/ 6756400 w 7831667"/>
              <a:gd name="connsiteY106" fmla="*/ 460363 h 1544097"/>
              <a:gd name="connsiteX107" fmla="*/ 6773334 w 7831667"/>
              <a:gd name="connsiteY107" fmla="*/ 477297 h 1544097"/>
              <a:gd name="connsiteX108" fmla="*/ 6832600 w 7831667"/>
              <a:gd name="connsiteY108" fmla="*/ 519630 h 1544097"/>
              <a:gd name="connsiteX109" fmla="*/ 6869491 w 7831667"/>
              <a:gd name="connsiteY109" fmla="*/ 702268 h 1544097"/>
              <a:gd name="connsiteX110" fmla="*/ 6993467 w 7831667"/>
              <a:gd name="connsiteY110" fmla="*/ 594016 h 1544097"/>
              <a:gd name="connsiteX111" fmla="*/ 7103534 w 7831667"/>
              <a:gd name="connsiteY111" fmla="*/ 528097 h 1544097"/>
              <a:gd name="connsiteX112" fmla="*/ 7190015 w 7831667"/>
              <a:gd name="connsiteY112" fmla="*/ 556520 h 1544097"/>
              <a:gd name="connsiteX113" fmla="*/ 7335763 w 7831667"/>
              <a:gd name="connsiteY113" fmla="*/ 484554 h 1544097"/>
              <a:gd name="connsiteX114" fmla="*/ 7476067 w 7831667"/>
              <a:gd name="connsiteY114" fmla="*/ 477297 h 1544097"/>
              <a:gd name="connsiteX115" fmla="*/ 7526867 w 7831667"/>
              <a:gd name="connsiteY115" fmla="*/ 561963 h 1544097"/>
              <a:gd name="connsiteX116" fmla="*/ 7577667 w 7831667"/>
              <a:gd name="connsiteY116" fmla="*/ 705897 h 1544097"/>
              <a:gd name="connsiteX117" fmla="*/ 7586134 w 7831667"/>
              <a:gd name="connsiteY117" fmla="*/ 748230 h 1544097"/>
              <a:gd name="connsiteX118" fmla="*/ 7628467 w 7831667"/>
              <a:gd name="connsiteY118" fmla="*/ 782097 h 1544097"/>
              <a:gd name="connsiteX119" fmla="*/ 7662334 w 7831667"/>
              <a:gd name="connsiteY119" fmla="*/ 799030 h 1544097"/>
              <a:gd name="connsiteX120" fmla="*/ 7696200 w 7831667"/>
              <a:gd name="connsiteY120" fmla="*/ 824430 h 1544097"/>
              <a:gd name="connsiteX121" fmla="*/ 7730067 w 7831667"/>
              <a:gd name="connsiteY121" fmla="*/ 832897 h 1544097"/>
              <a:gd name="connsiteX122" fmla="*/ 7763934 w 7831667"/>
              <a:gd name="connsiteY122" fmla="*/ 849830 h 1544097"/>
              <a:gd name="connsiteX123" fmla="*/ 7814734 w 7831667"/>
              <a:gd name="connsiteY123" fmla="*/ 900630 h 1544097"/>
              <a:gd name="connsiteX124" fmla="*/ 7831667 w 7831667"/>
              <a:gd name="connsiteY124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756400 w 7831667"/>
              <a:gd name="connsiteY105" fmla="*/ 460363 h 1544097"/>
              <a:gd name="connsiteX106" fmla="*/ 6773334 w 7831667"/>
              <a:gd name="connsiteY106" fmla="*/ 477297 h 1544097"/>
              <a:gd name="connsiteX107" fmla="*/ 6832600 w 7831667"/>
              <a:gd name="connsiteY107" fmla="*/ 519630 h 1544097"/>
              <a:gd name="connsiteX108" fmla="*/ 6869491 w 7831667"/>
              <a:gd name="connsiteY108" fmla="*/ 702268 h 1544097"/>
              <a:gd name="connsiteX109" fmla="*/ 6993467 w 7831667"/>
              <a:gd name="connsiteY109" fmla="*/ 594016 h 1544097"/>
              <a:gd name="connsiteX110" fmla="*/ 7103534 w 7831667"/>
              <a:gd name="connsiteY110" fmla="*/ 528097 h 1544097"/>
              <a:gd name="connsiteX111" fmla="*/ 7190015 w 7831667"/>
              <a:gd name="connsiteY111" fmla="*/ 556520 h 1544097"/>
              <a:gd name="connsiteX112" fmla="*/ 7335763 w 7831667"/>
              <a:gd name="connsiteY112" fmla="*/ 484554 h 1544097"/>
              <a:gd name="connsiteX113" fmla="*/ 7476067 w 7831667"/>
              <a:gd name="connsiteY113" fmla="*/ 477297 h 1544097"/>
              <a:gd name="connsiteX114" fmla="*/ 7526867 w 7831667"/>
              <a:gd name="connsiteY114" fmla="*/ 561963 h 1544097"/>
              <a:gd name="connsiteX115" fmla="*/ 7577667 w 7831667"/>
              <a:gd name="connsiteY115" fmla="*/ 705897 h 1544097"/>
              <a:gd name="connsiteX116" fmla="*/ 7586134 w 7831667"/>
              <a:gd name="connsiteY116" fmla="*/ 748230 h 1544097"/>
              <a:gd name="connsiteX117" fmla="*/ 7628467 w 7831667"/>
              <a:gd name="connsiteY117" fmla="*/ 782097 h 1544097"/>
              <a:gd name="connsiteX118" fmla="*/ 7662334 w 7831667"/>
              <a:gd name="connsiteY118" fmla="*/ 799030 h 1544097"/>
              <a:gd name="connsiteX119" fmla="*/ 7696200 w 7831667"/>
              <a:gd name="connsiteY119" fmla="*/ 824430 h 1544097"/>
              <a:gd name="connsiteX120" fmla="*/ 7730067 w 7831667"/>
              <a:gd name="connsiteY120" fmla="*/ 832897 h 1544097"/>
              <a:gd name="connsiteX121" fmla="*/ 7763934 w 7831667"/>
              <a:gd name="connsiteY121" fmla="*/ 849830 h 1544097"/>
              <a:gd name="connsiteX122" fmla="*/ 7814734 w 7831667"/>
              <a:gd name="connsiteY122" fmla="*/ 900630 h 1544097"/>
              <a:gd name="connsiteX123" fmla="*/ 7831667 w 7831667"/>
              <a:gd name="connsiteY123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756400 w 7831667"/>
              <a:gd name="connsiteY105" fmla="*/ 460363 h 1544097"/>
              <a:gd name="connsiteX106" fmla="*/ 6832600 w 7831667"/>
              <a:gd name="connsiteY106" fmla="*/ 519630 h 1544097"/>
              <a:gd name="connsiteX107" fmla="*/ 6869491 w 7831667"/>
              <a:gd name="connsiteY107" fmla="*/ 702268 h 1544097"/>
              <a:gd name="connsiteX108" fmla="*/ 6993467 w 7831667"/>
              <a:gd name="connsiteY108" fmla="*/ 594016 h 1544097"/>
              <a:gd name="connsiteX109" fmla="*/ 7103534 w 7831667"/>
              <a:gd name="connsiteY109" fmla="*/ 528097 h 1544097"/>
              <a:gd name="connsiteX110" fmla="*/ 7190015 w 7831667"/>
              <a:gd name="connsiteY110" fmla="*/ 556520 h 1544097"/>
              <a:gd name="connsiteX111" fmla="*/ 7335763 w 7831667"/>
              <a:gd name="connsiteY111" fmla="*/ 484554 h 1544097"/>
              <a:gd name="connsiteX112" fmla="*/ 7476067 w 7831667"/>
              <a:gd name="connsiteY112" fmla="*/ 477297 h 1544097"/>
              <a:gd name="connsiteX113" fmla="*/ 7526867 w 7831667"/>
              <a:gd name="connsiteY113" fmla="*/ 561963 h 1544097"/>
              <a:gd name="connsiteX114" fmla="*/ 7577667 w 7831667"/>
              <a:gd name="connsiteY114" fmla="*/ 705897 h 1544097"/>
              <a:gd name="connsiteX115" fmla="*/ 7586134 w 7831667"/>
              <a:gd name="connsiteY115" fmla="*/ 748230 h 1544097"/>
              <a:gd name="connsiteX116" fmla="*/ 7628467 w 7831667"/>
              <a:gd name="connsiteY116" fmla="*/ 782097 h 1544097"/>
              <a:gd name="connsiteX117" fmla="*/ 7662334 w 7831667"/>
              <a:gd name="connsiteY117" fmla="*/ 799030 h 1544097"/>
              <a:gd name="connsiteX118" fmla="*/ 7696200 w 7831667"/>
              <a:gd name="connsiteY118" fmla="*/ 824430 h 1544097"/>
              <a:gd name="connsiteX119" fmla="*/ 7730067 w 7831667"/>
              <a:gd name="connsiteY119" fmla="*/ 832897 h 1544097"/>
              <a:gd name="connsiteX120" fmla="*/ 7763934 w 7831667"/>
              <a:gd name="connsiteY120" fmla="*/ 849830 h 1544097"/>
              <a:gd name="connsiteX121" fmla="*/ 7814734 w 7831667"/>
              <a:gd name="connsiteY121" fmla="*/ 900630 h 1544097"/>
              <a:gd name="connsiteX122" fmla="*/ 7831667 w 7831667"/>
              <a:gd name="connsiteY122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32600 w 7831667"/>
              <a:gd name="connsiteY105" fmla="*/ 519630 h 1544097"/>
              <a:gd name="connsiteX106" fmla="*/ 6869491 w 7831667"/>
              <a:gd name="connsiteY106" fmla="*/ 702268 h 1544097"/>
              <a:gd name="connsiteX107" fmla="*/ 6993467 w 7831667"/>
              <a:gd name="connsiteY107" fmla="*/ 594016 h 1544097"/>
              <a:gd name="connsiteX108" fmla="*/ 7103534 w 7831667"/>
              <a:gd name="connsiteY108" fmla="*/ 528097 h 1544097"/>
              <a:gd name="connsiteX109" fmla="*/ 7190015 w 7831667"/>
              <a:gd name="connsiteY109" fmla="*/ 556520 h 1544097"/>
              <a:gd name="connsiteX110" fmla="*/ 7335763 w 7831667"/>
              <a:gd name="connsiteY110" fmla="*/ 484554 h 1544097"/>
              <a:gd name="connsiteX111" fmla="*/ 7476067 w 7831667"/>
              <a:gd name="connsiteY111" fmla="*/ 477297 h 1544097"/>
              <a:gd name="connsiteX112" fmla="*/ 7526867 w 7831667"/>
              <a:gd name="connsiteY112" fmla="*/ 561963 h 1544097"/>
              <a:gd name="connsiteX113" fmla="*/ 7577667 w 7831667"/>
              <a:gd name="connsiteY113" fmla="*/ 705897 h 1544097"/>
              <a:gd name="connsiteX114" fmla="*/ 7586134 w 7831667"/>
              <a:gd name="connsiteY114" fmla="*/ 748230 h 1544097"/>
              <a:gd name="connsiteX115" fmla="*/ 7628467 w 7831667"/>
              <a:gd name="connsiteY115" fmla="*/ 782097 h 1544097"/>
              <a:gd name="connsiteX116" fmla="*/ 7662334 w 7831667"/>
              <a:gd name="connsiteY116" fmla="*/ 799030 h 1544097"/>
              <a:gd name="connsiteX117" fmla="*/ 7696200 w 7831667"/>
              <a:gd name="connsiteY117" fmla="*/ 824430 h 1544097"/>
              <a:gd name="connsiteX118" fmla="*/ 7730067 w 7831667"/>
              <a:gd name="connsiteY118" fmla="*/ 832897 h 1544097"/>
              <a:gd name="connsiteX119" fmla="*/ 7763934 w 7831667"/>
              <a:gd name="connsiteY119" fmla="*/ 849830 h 1544097"/>
              <a:gd name="connsiteX120" fmla="*/ 7814734 w 7831667"/>
              <a:gd name="connsiteY120" fmla="*/ 900630 h 1544097"/>
              <a:gd name="connsiteX121" fmla="*/ 7831667 w 7831667"/>
              <a:gd name="connsiteY121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69491 w 7831667"/>
              <a:gd name="connsiteY105" fmla="*/ 702268 h 1544097"/>
              <a:gd name="connsiteX106" fmla="*/ 6993467 w 7831667"/>
              <a:gd name="connsiteY106" fmla="*/ 594016 h 1544097"/>
              <a:gd name="connsiteX107" fmla="*/ 7103534 w 7831667"/>
              <a:gd name="connsiteY107" fmla="*/ 528097 h 1544097"/>
              <a:gd name="connsiteX108" fmla="*/ 7190015 w 7831667"/>
              <a:gd name="connsiteY108" fmla="*/ 556520 h 1544097"/>
              <a:gd name="connsiteX109" fmla="*/ 7335763 w 7831667"/>
              <a:gd name="connsiteY109" fmla="*/ 484554 h 1544097"/>
              <a:gd name="connsiteX110" fmla="*/ 7476067 w 7831667"/>
              <a:gd name="connsiteY110" fmla="*/ 477297 h 1544097"/>
              <a:gd name="connsiteX111" fmla="*/ 7526867 w 7831667"/>
              <a:gd name="connsiteY111" fmla="*/ 561963 h 1544097"/>
              <a:gd name="connsiteX112" fmla="*/ 7577667 w 7831667"/>
              <a:gd name="connsiteY112" fmla="*/ 705897 h 1544097"/>
              <a:gd name="connsiteX113" fmla="*/ 7586134 w 7831667"/>
              <a:gd name="connsiteY113" fmla="*/ 748230 h 1544097"/>
              <a:gd name="connsiteX114" fmla="*/ 7628467 w 7831667"/>
              <a:gd name="connsiteY114" fmla="*/ 782097 h 1544097"/>
              <a:gd name="connsiteX115" fmla="*/ 7662334 w 7831667"/>
              <a:gd name="connsiteY115" fmla="*/ 799030 h 1544097"/>
              <a:gd name="connsiteX116" fmla="*/ 7696200 w 7831667"/>
              <a:gd name="connsiteY116" fmla="*/ 824430 h 1544097"/>
              <a:gd name="connsiteX117" fmla="*/ 7730067 w 7831667"/>
              <a:gd name="connsiteY117" fmla="*/ 832897 h 1544097"/>
              <a:gd name="connsiteX118" fmla="*/ 7763934 w 7831667"/>
              <a:gd name="connsiteY118" fmla="*/ 849830 h 1544097"/>
              <a:gd name="connsiteX119" fmla="*/ 7814734 w 7831667"/>
              <a:gd name="connsiteY119" fmla="*/ 900630 h 1544097"/>
              <a:gd name="connsiteX120" fmla="*/ 7831667 w 7831667"/>
              <a:gd name="connsiteY120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70248 w 7831667"/>
              <a:gd name="connsiteY98" fmla="*/ 497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69491 w 7831667"/>
              <a:gd name="connsiteY105" fmla="*/ 702268 h 1544097"/>
              <a:gd name="connsiteX106" fmla="*/ 6993467 w 7831667"/>
              <a:gd name="connsiteY106" fmla="*/ 594016 h 1544097"/>
              <a:gd name="connsiteX107" fmla="*/ 7103534 w 7831667"/>
              <a:gd name="connsiteY107" fmla="*/ 528097 h 1544097"/>
              <a:gd name="connsiteX108" fmla="*/ 7190015 w 7831667"/>
              <a:gd name="connsiteY108" fmla="*/ 556520 h 1544097"/>
              <a:gd name="connsiteX109" fmla="*/ 7335763 w 7831667"/>
              <a:gd name="connsiteY109" fmla="*/ 484554 h 1544097"/>
              <a:gd name="connsiteX110" fmla="*/ 7476067 w 7831667"/>
              <a:gd name="connsiteY110" fmla="*/ 477297 h 1544097"/>
              <a:gd name="connsiteX111" fmla="*/ 7526867 w 7831667"/>
              <a:gd name="connsiteY111" fmla="*/ 561963 h 1544097"/>
              <a:gd name="connsiteX112" fmla="*/ 7577667 w 7831667"/>
              <a:gd name="connsiteY112" fmla="*/ 705897 h 1544097"/>
              <a:gd name="connsiteX113" fmla="*/ 7586134 w 7831667"/>
              <a:gd name="connsiteY113" fmla="*/ 748230 h 1544097"/>
              <a:gd name="connsiteX114" fmla="*/ 7628467 w 7831667"/>
              <a:gd name="connsiteY114" fmla="*/ 782097 h 1544097"/>
              <a:gd name="connsiteX115" fmla="*/ 7662334 w 7831667"/>
              <a:gd name="connsiteY115" fmla="*/ 799030 h 1544097"/>
              <a:gd name="connsiteX116" fmla="*/ 7696200 w 7831667"/>
              <a:gd name="connsiteY116" fmla="*/ 824430 h 1544097"/>
              <a:gd name="connsiteX117" fmla="*/ 7730067 w 7831667"/>
              <a:gd name="connsiteY117" fmla="*/ 832897 h 1544097"/>
              <a:gd name="connsiteX118" fmla="*/ 7763934 w 7831667"/>
              <a:gd name="connsiteY118" fmla="*/ 849830 h 1544097"/>
              <a:gd name="connsiteX119" fmla="*/ 7814734 w 7831667"/>
              <a:gd name="connsiteY119" fmla="*/ 900630 h 1544097"/>
              <a:gd name="connsiteX120" fmla="*/ 7831667 w 7831667"/>
              <a:gd name="connsiteY120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17634 w 7831667"/>
              <a:gd name="connsiteY97" fmla="*/ 75130 h 1544097"/>
              <a:gd name="connsiteX98" fmla="*/ 5670248 w 7831667"/>
              <a:gd name="connsiteY98" fmla="*/ 497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69491 w 7831667"/>
              <a:gd name="connsiteY105" fmla="*/ 702268 h 1544097"/>
              <a:gd name="connsiteX106" fmla="*/ 6993467 w 7831667"/>
              <a:gd name="connsiteY106" fmla="*/ 594016 h 1544097"/>
              <a:gd name="connsiteX107" fmla="*/ 7103534 w 7831667"/>
              <a:gd name="connsiteY107" fmla="*/ 528097 h 1544097"/>
              <a:gd name="connsiteX108" fmla="*/ 7190015 w 7831667"/>
              <a:gd name="connsiteY108" fmla="*/ 556520 h 1544097"/>
              <a:gd name="connsiteX109" fmla="*/ 7335763 w 7831667"/>
              <a:gd name="connsiteY109" fmla="*/ 484554 h 1544097"/>
              <a:gd name="connsiteX110" fmla="*/ 7476067 w 7831667"/>
              <a:gd name="connsiteY110" fmla="*/ 477297 h 1544097"/>
              <a:gd name="connsiteX111" fmla="*/ 7526867 w 7831667"/>
              <a:gd name="connsiteY111" fmla="*/ 561963 h 1544097"/>
              <a:gd name="connsiteX112" fmla="*/ 7577667 w 7831667"/>
              <a:gd name="connsiteY112" fmla="*/ 705897 h 1544097"/>
              <a:gd name="connsiteX113" fmla="*/ 7586134 w 7831667"/>
              <a:gd name="connsiteY113" fmla="*/ 748230 h 1544097"/>
              <a:gd name="connsiteX114" fmla="*/ 7628467 w 7831667"/>
              <a:gd name="connsiteY114" fmla="*/ 782097 h 1544097"/>
              <a:gd name="connsiteX115" fmla="*/ 7662334 w 7831667"/>
              <a:gd name="connsiteY115" fmla="*/ 799030 h 1544097"/>
              <a:gd name="connsiteX116" fmla="*/ 7696200 w 7831667"/>
              <a:gd name="connsiteY116" fmla="*/ 824430 h 1544097"/>
              <a:gd name="connsiteX117" fmla="*/ 7730067 w 7831667"/>
              <a:gd name="connsiteY117" fmla="*/ 832897 h 1544097"/>
              <a:gd name="connsiteX118" fmla="*/ 7763934 w 7831667"/>
              <a:gd name="connsiteY118" fmla="*/ 849830 h 1544097"/>
              <a:gd name="connsiteX119" fmla="*/ 7814734 w 7831667"/>
              <a:gd name="connsiteY119" fmla="*/ 900630 h 1544097"/>
              <a:gd name="connsiteX120" fmla="*/ 7831667 w 7831667"/>
              <a:gd name="connsiteY120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17634 w 7831667"/>
              <a:gd name="connsiteY96" fmla="*/ 75130 h 1544097"/>
              <a:gd name="connsiteX97" fmla="*/ 5670248 w 7831667"/>
              <a:gd name="connsiteY97" fmla="*/ 49730 h 1544097"/>
              <a:gd name="connsiteX98" fmla="*/ 5731934 w 7831667"/>
              <a:gd name="connsiteY98" fmla="*/ 53963 h 1544097"/>
              <a:gd name="connsiteX99" fmla="*/ 5791200 w 7831667"/>
              <a:gd name="connsiteY99" fmla="*/ 20097 h 1544097"/>
              <a:gd name="connsiteX100" fmla="*/ 5833534 w 7831667"/>
              <a:gd name="connsiteY100" fmla="*/ 3163 h 1544097"/>
              <a:gd name="connsiteX101" fmla="*/ 5952067 w 7831667"/>
              <a:gd name="connsiteY101" fmla="*/ 11630 h 1544097"/>
              <a:gd name="connsiteX102" fmla="*/ 6082091 w 7831667"/>
              <a:gd name="connsiteY102" fmla="*/ 134397 h 1544097"/>
              <a:gd name="connsiteX103" fmla="*/ 6544734 w 7831667"/>
              <a:gd name="connsiteY103" fmla="*/ 480320 h 1544097"/>
              <a:gd name="connsiteX104" fmla="*/ 6869491 w 7831667"/>
              <a:gd name="connsiteY104" fmla="*/ 702268 h 1544097"/>
              <a:gd name="connsiteX105" fmla="*/ 6993467 w 7831667"/>
              <a:gd name="connsiteY105" fmla="*/ 594016 h 1544097"/>
              <a:gd name="connsiteX106" fmla="*/ 7103534 w 7831667"/>
              <a:gd name="connsiteY106" fmla="*/ 528097 h 1544097"/>
              <a:gd name="connsiteX107" fmla="*/ 7190015 w 7831667"/>
              <a:gd name="connsiteY107" fmla="*/ 556520 h 1544097"/>
              <a:gd name="connsiteX108" fmla="*/ 7335763 w 7831667"/>
              <a:gd name="connsiteY108" fmla="*/ 484554 h 1544097"/>
              <a:gd name="connsiteX109" fmla="*/ 7476067 w 7831667"/>
              <a:gd name="connsiteY109" fmla="*/ 477297 h 1544097"/>
              <a:gd name="connsiteX110" fmla="*/ 7526867 w 7831667"/>
              <a:gd name="connsiteY110" fmla="*/ 561963 h 1544097"/>
              <a:gd name="connsiteX111" fmla="*/ 7577667 w 7831667"/>
              <a:gd name="connsiteY111" fmla="*/ 705897 h 1544097"/>
              <a:gd name="connsiteX112" fmla="*/ 7586134 w 7831667"/>
              <a:gd name="connsiteY112" fmla="*/ 748230 h 1544097"/>
              <a:gd name="connsiteX113" fmla="*/ 7628467 w 7831667"/>
              <a:gd name="connsiteY113" fmla="*/ 782097 h 1544097"/>
              <a:gd name="connsiteX114" fmla="*/ 7662334 w 7831667"/>
              <a:gd name="connsiteY114" fmla="*/ 799030 h 1544097"/>
              <a:gd name="connsiteX115" fmla="*/ 7696200 w 7831667"/>
              <a:gd name="connsiteY115" fmla="*/ 824430 h 1544097"/>
              <a:gd name="connsiteX116" fmla="*/ 7730067 w 7831667"/>
              <a:gd name="connsiteY116" fmla="*/ 832897 h 1544097"/>
              <a:gd name="connsiteX117" fmla="*/ 7763934 w 7831667"/>
              <a:gd name="connsiteY117" fmla="*/ 849830 h 1544097"/>
              <a:gd name="connsiteX118" fmla="*/ 7814734 w 7831667"/>
              <a:gd name="connsiteY118" fmla="*/ 900630 h 1544097"/>
              <a:gd name="connsiteX119" fmla="*/ 7831667 w 7831667"/>
              <a:gd name="connsiteY119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17634 w 7831667"/>
              <a:gd name="connsiteY96" fmla="*/ 75130 h 1544097"/>
              <a:gd name="connsiteX97" fmla="*/ 5670248 w 7831667"/>
              <a:gd name="connsiteY97" fmla="*/ 49730 h 1544097"/>
              <a:gd name="connsiteX98" fmla="*/ 5791200 w 7831667"/>
              <a:gd name="connsiteY98" fmla="*/ 20097 h 1544097"/>
              <a:gd name="connsiteX99" fmla="*/ 5833534 w 7831667"/>
              <a:gd name="connsiteY99" fmla="*/ 3163 h 1544097"/>
              <a:gd name="connsiteX100" fmla="*/ 5952067 w 7831667"/>
              <a:gd name="connsiteY100" fmla="*/ 11630 h 1544097"/>
              <a:gd name="connsiteX101" fmla="*/ 6082091 w 7831667"/>
              <a:gd name="connsiteY101" fmla="*/ 134397 h 1544097"/>
              <a:gd name="connsiteX102" fmla="*/ 6544734 w 7831667"/>
              <a:gd name="connsiteY102" fmla="*/ 480320 h 1544097"/>
              <a:gd name="connsiteX103" fmla="*/ 6869491 w 7831667"/>
              <a:gd name="connsiteY103" fmla="*/ 702268 h 1544097"/>
              <a:gd name="connsiteX104" fmla="*/ 6993467 w 7831667"/>
              <a:gd name="connsiteY104" fmla="*/ 594016 h 1544097"/>
              <a:gd name="connsiteX105" fmla="*/ 7103534 w 7831667"/>
              <a:gd name="connsiteY105" fmla="*/ 528097 h 1544097"/>
              <a:gd name="connsiteX106" fmla="*/ 7190015 w 7831667"/>
              <a:gd name="connsiteY106" fmla="*/ 556520 h 1544097"/>
              <a:gd name="connsiteX107" fmla="*/ 7335763 w 7831667"/>
              <a:gd name="connsiteY107" fmla="*/ 484554 h 1544097"/>
              <a:gd name="connsiteX108" fmla="*/ 7476067 w 7831667"/>
              <a:gd name="connsiteY108" fmla="*/ 477297 h 1544097"/>
              <a:gd name="connsiteX109" fmla="*/ 7526867 w 7831667"/>
              <a:gd name="connsiteY109" fmla="*/ 561963 h 1544097"/>
              <a:gd name="connsiteX110" fmla="*/ 7577667 w 7831667"/>
              <a:gd name="connsiteY110" fmla="*/ 705897 h 1544097"/>
              <a:gd name="connsiteX111" fmla="*/ 7586134 w 7831667"/>
              <a:gd name="connsiteY111" fmla="*/ 748230 h 1544097"/>
              <a:gd name="connsiteX112" fmla="*/ 7628467 w 7831667"/>
              <a:gd name="connsiteY112" fmla="*/ 782097 h 1544097"/>
              <a:gd name="connsiteX113" fmla="*/ 7662334 w 7831667"/>
              <a:gd name="connsiteY113" fmla="*/ 799030 h 1544097"/>
              <a:gd name="connsiteX114" fmla="*/ 7696200 w 7831667"/>
              <a:gd name="connsiteY114" fmla="*/ 824430 h 1544097"/>
              <a:gd name="connsiteX115" fmla="*/ 7730067 w 7831667"/>
              <a:gd name="connsiteY115" fmla="*/ 832897 h 1544097"/>
              <a:gd name="connsiteX116" fmla="*/ 7763934 w 7831667"/>
              <a:gd name="connsiteY116" fmla="*/ 849830 h 1544097"/>
              <a:gd name="connsiteX117" fmla="*/ 7814734 w 7831667"/>
              <a:gd name="connsiteY117" fmla="*/ 900630 h 1544097"/>
              <a:gd name="connsiteX118" fmla="*/ 7831667 w 7831667"/>
              <a:gd name="connsiteY118" fmla="*/ 926030 h 1544097"/>
              <a:gd name="connsiteX0" fmla="*/ 0 w 7831667"/>
              <a:gd name="connsiteY0" fmla="*/ 1132423 h 1547290"/>
              <a:gd name="connsiteX1" fmla="*/ 8467 w 7831667"/>
              <a:gd name="connsiteY1" fmla="*/ 1174756 h 1547290"/>
              <a:gd name="connsiteX2" fmla="*/ 33867 w 7831667"/>
              <a:gd name="connsiteY2" fmla="*/ 1183223 h 1547290"/>
              <a:gd name="connsiteX3" fmla="*/ 67734 w 7831667"/>
              <a:gd name="connsiteY3" fmla="*/ 1200156 h 1547290"/>
              <a:gd name="connsiteX4" fmla="*/ 84667 w 7831667"/>
              <a:gd name="connsiteY4" fmla="*/ 1217090 h 1547290"/>
              <a:gd name="connsiteX5" fmla="*/ 135467 w 7831667"/>
              <a:gd name="connsiteY5" fmla="*/ 1242490 h 1547290"/>
              <a:gd name="connsiteX6" fmla="*/ 160867 w 7831667"/>
              <a:gd name="connsiteY6" fmla="*/ 1267890 h 1547290"/>
              <a:gd name="connsiteX7" fmla="*/ 194734 w 7831667"/>
              <a:gd name="connsiteY7" fmla="*/ 1284823 h 1547290"/>
              <a:gd name="connsiteX8" fmla="*/ 237067 w 7831667"/>
              <a:gd name="connsiteY8" fmla="*/ 1310223 h 1547290"/>
              <a:gd name="connsiteX9" fmla="*/ 262467 w 7831667"/>
              <a:gd name="connsiteY9" fmla="*/ 1327156 h 1547290"/>
              <a:gd name="connsiteX10" fmla="*/ 313267 w 7831667"/>
              <a:gd name="connsiteY10" fmla="*/ 1344090 h 1547290"/>
              <a:gd name="connsiteX11" fmla="*/ 372534 w 7831667"/>
              <a:gd name="connsiteY11" fmla="*/ 1386423 h 1547290"/>
              <a:gd name="connsiteX12" fmla="*/ 423334 w 7831667"/>
              <a:gd name="connsiteY12" fmla="*/ 1403356 h 1547290"/>
              <a:gd name="connsiteX13" fmla="*/ 448734 w 7831667"/>
              <a:gd name="connsiteY13" fmla="*/ 1411823 h 1547290"/>
              <a:gd name="connsiteX14" fmla="*/ 533400 w 7831667"/>
              <a:gd name="connsiteY14" fmla="*/ 1471090 h 1547290"/>
              <a:gd name="connsiteX15" fmla="*/ 567267 w 7831667"/>
              <a:gd name="connsiteY15" fmla="*/ 1479556 h 1547290"/>
              <a:gd name="connsiteX16" fmla="*/ 592667 w 7831667"/>
              <a:gd name="connsiteY16" fmla="*/ 1488023 h 1547290"/>
              <a:gd name="connsiteX17" fmla="*/ 677334 w 7831667"/>
              <a:gd name="connsiteY17" fmla="*/ 1504956 h 1547290"/>
              <a:gd name="connsiteX18" fmla="*/ 736600 w 7831667"/>
              <a:gd name="connsiteY18" fmla="*/ 1521890 h 1547290"/>
              <a:gd name="connsiteX19" fmla="*/ 778934 w 7831667"/>
              <a:gd name="connsiteY19" fmla="*/ 1530356 h 1547290"/>
              <a:gd name="connsiteX20" fmla="*/ 855134 w 7831667"/>
              <a:gd name="connsiteY20" fmla="*/ 1547290 h 1547290"/>
              <a:gd name="connsiteX21" fmla="*/ 1075267 w 7831667"/>
              <a:gd name="connsiteY21" fmla="*/ 1538823 h 1547290"/>
              <a:gd name="connsiteX22" fmla="*/ 1134534 w 7831667"/>
              <a:gd name="connsiteY22" fmla="*/ 1521890 h 1547290"/>
              <a:gd name="connsiteX23" fmla="*/ 1210734 w 7831667"/>
              <a:gd name="connsiteY23" fmla="*/ 1504956 h 1547290"/>
              <a:gd name="connsiteX24" fmla="*/ 1244600 w 7831667"/>
              <a:gd name="connsiteY24" fmla="*/ 1488023 h 1547290"/>
              <a:gd name="connsiteX25" fmla="*/ 1278467 w 7831667"/>
              <a:gd name="connsiteY25" fmla="*/ 1479556 h 1547290"/>
              <a:gd name="connsiteX26" fmla="*/ 1303867 w 7831667"/>
              <a:gd name="connsiteY26" fmla="*/ 1462623 h 1547290"/>
              <a:gd name="connsiteX27" fmla="*/ 1337734 w 7831667"/>
              <a:gd name="connsiteY27" fmla="*/ 1454156 h 1547290"/>
              <a:gd name="connsiteX28" fmla="*/ 1380067 w 7831667"/>
              <a:gd name="connsiteY28" fmla="*/ 1437223 h 1547290"/>
              <a:gd name="connsiteX29" fmla="*/ 1413934 w 7831667"/>
              <a:gd name="connsiteY29" fmla="*/ 1428756 h 1547290"/>
              <a:gd name="connsiteX30" fmla="*/ 1481667 w 7831667"/>
              <a:gd name="connsiteY30" fmla="*/ 1403356 h 1547290"/>
              <a:gd name="connsiteX31" fmla="*/ 1540934 w 7831667"/>
              <a:gd name="connsiteY31" fmla="*/ 1377956 h 1547290"/>
              <a:gd name="connsiteX32" fmla="*/ 1574800 w 7831667"/>
              <a:gd name="connsiteY32" fmla="*/ 1361023 h 1547290"/>
              <a:gd name="connsiteX33" fmla="*/ 1600200 w 7831667"/>
              <a:gd name="connsiteY33" fmla="*/ 1352556 h 1547290"/>
              <a:gd name="connsiteX34" fmla="*/ 1625600 w 7831667"/>
              <a:gd name="connsiteY34" fmla="*/ 1327156 h 1547290"/>
              <a:gd name="connsiteX35" fmla="*/ 1642534 w 7831667"/>
              <a:gd name="connsiteY35" fmla="*/ 1301756 h 1547290"/>
              <a:gd name="connsiteX36" fmla="*/ 1667934 w 7831667"/>
              <a:gd name="connsiteY36" fmla="*/ 1267890 h 1547290"/>
              <a:gd name="connsiteX37" fmla="*/ 1684867 w 7831667"/>
              <a:gd name="connsiteY37" fmla="*/ 1242490 h 1547290"/>
              <a:gd name="connsiteX38" fmla="*/ 1718734 w 7831667"/>
              <a:gd name="connsiteY38" fmla="*/ 1217090 h 1547290"/>
              <a:gd name="connsiteX39" fmla="*/ 1769534 w 7831667"/>
              <a:gd name="connsiteY39" fmla="*/ 1166290 h 1547290"/>
              <a:gd name="connsiteX40" fmla="*/ 1811867 w 7831667"/>
              <a:gd name="connsiteY40" fmla="*/ 1140890 h 1547290"/>
              <a:gd name="connsiteX41" fmla="*/ 1845734 w 7831667"/>
              <a:gd name="connsiteY41" fmla="*/ 1115490 h 1547290"/>
              <a:gd name="connsiteX42" fmla="*/ 1879600 w 7831667"/>
              <a:gd name="connsiteY42" fmla="*/ 1098556 h 1547290"/>
              <a:gd name="connsiteX43" fmla="*/ 1896534 w 7831667"/>
              <a:gd name="connsiteY43" fmla="*/ 1073156 h 1547290"/>
              <a:gd name="connsiteX44" fmla="*/ 1947334 w 7831667"/>
              <a:gd name="connsiteY44" fmla="*/ 1022356 h 1547290"/>
              <a:gd name="connsiteX45" fmla="*/ 1972734 w 7831667"/>
              <a:gd name="connsiteY45" fmla="*/ 1005423 h 1547290"/>
              <a:gd name="connsiteX46" fmla="*/ 1998134 w 7831667"/>
              <a:gd name="connsiteY46" fmla="*/ 980023 h 1547290"/>
              <a:gd name="connsiteX47" fmla="*/ 2057400 w 7831667"/>
              <a:gd name="connsiteY47" fmla="*/ 937690 h 1547290"/>
              <a:gd name="connsiteX48" fmla="*/ 2125134 w 7831667"/>
              <a:gd name="connsiteY48" fmla="*/ 912290 h 1547290"/>
              <a:gd name="connsiteX49" fmla="*/ 2159000 w 7831667"/>
              <a:gd name="connsiteY49" fmla="*/ 886890 h 1547290"/>
              <a:gd name="connsiteX50" fmla="*/ 2209800 w 7831667"/>
              <a:gd name="connsiteY50" fmla="*/ 869956 h 1547290"/>
              <a:gd name="connsiteX51" fmla="*/ 2243667 w 7831667"/>
              <a:gd name="connsiteY51" fmla="*/ 853023 h 1547290"/>
              <a:gd name="connsiteX52" fmla="*/ 2336800 w 7831667"/>
              <a:gd name="connsiteY52" fmla="*/ 861490 h 1547290"/>
              <a:gd name="connsiteX53" fmla="*/ 2353734 w 7831667"/>
              <a:gd name="connsiteY53" fmla="*/ 878423 h 1547290"/>
              <a:gd name="connsiteX54" fmla="*/ 2404534 w 7831667"/>
              <a:gd name="connsiteY54" fmla="*/ 895356 h 1547290"/>
              <a:gd name="connsiteX55" fmla="*/ 2540000 w 7831667"/>
              <a:gd name="connsiteY55" fmla="*/ 886890 h 1547290"/>
              <a:gd name="connsiteX56" fmla="*/ 2582334 w 7831667"/>
              <a:gd name="connsiteY56" fmla="*/ 878423 h 1547290"/>
              <a:gd name="connsiteX57" fmla="*/ 2616200 w 7831667"/>
              <a:gd name="connsiteY57" fmla="*/ 886890 h 1547290"/>
              <a:gd name="connsiteX58" fmla="*/ 2658534 w 7831667"/>
              <a:gd name="connsiteY58" fmla="*/ 903823 h 1547290"/>
              <a:gd name="connsiteX59" fmla="*/ 2683934 w 7831667"/>
              <a:gd name="connsiteY59" fmla="*/ 912290 h 1547290"/>
              <a:gd name="connsiteX60" fmla="*/ 2734734 w 7831667"/>
              <a:gd name="connsiteY60" fmla="*/ 937690 h 1547290"/>
              <a:gd name="connsiteX61" fmla="*/ 2751667 w 7831667"/>
              <a:gd name="connsiteY61" fmla="*/ 963090 h 1547290"/>
              <a:gd name="connsiteX62" fmla="*/ 2827867 w 7831667"/>
              <a:gd name="connsiteY62" fmla="*/ 988490 h 1547290"/>
              <a:gd name="connsiteX63" fmla="*/ 2853267 w 7831667"/>
              <a:gd name="connsiteY63" fmla="*/ 996956 h 1547290"/>
              <a:gd name="connsiteX64" fmla="*/ 2921000 w 7831667"/>
              <a:gd name="connsiteY64" fmla="*/ 1005423 h 1547290"/>
              <a:gd name="connsiteX65" fmla="*/ 2980267 w 7831667"/>
              <a:gd name="connsiteY65" fmla="*/ 1013890 h 1547290"/>
              <a:gd name="connsiteX66" fmla="*/ 3073400 w 7831667"/>
              <a:gd name="connsiteY66" fmla="*/ 1047756 h 1547290"/>
              <a:gd name="connsiteX67" fmla="*/ 3104849 w 7831667"/>
              <a:gd name="connsiteY67" fmla="*/ 1108233 h 1547290"/>
              <a:gd name="connsiteX68" fmla="*/ 3158068 w 7831667"/>
              <a:gd name="connsiteY68" fmla="*/ 1115490 h 1547290"/>
              <a:gd name="connsiteX69" fmla="*/ 3293534 w 7831667"/>
              <a:gd name="connsiteY69" fmla="*/ 1132423 h 1547290"/>
              <a:gd name="connsiteX70" fmla="*/ 3335867 w 7831667"/>
              <a:gd name="connsiteY70" fmla="*/ 1149356 h 1547290"/>
              <a:gd name="connsiteX71" fmla="*/ 3437467 w 7831667"/>
              <a:gd name="connsiteY71" fmla="*/ 1157823 h 1547290"/>
              <a:gd name="connsiteX72" fmla="*/ 3505200 w 7831667"/>
              <a:gd name="connsiteY72" fmla="*/ 1166290 h 1547290"/>
              <a:gd name="connsiteX73" fmla="*/ 3547534 w 7831667"/>
              <a:gd name="connsiteY73" fmla="*/ 1174756 h 1547290"/>
              <a:gd name="connsiteX74" fmla="*/ 3598334 w 7831667"/>
              <a:gd name="connsiteY74" fmla="*/ 1183223 h 1547290"/>
              <a:gd name="connsiteX75" fmla="*/ 3640667 w 7831667"/>
              <a:gd name="connsiteY75" fmla="*/ 1208623 h 1547290"/>
              <a:gd name="connsiteX76" fmla="*/ 3666067 w 7831667"/>
              <a:gd name="connsiteY76" fmla="*/ 1217090 h 1547290"/>
              <a:gd name="connsiteX77" fmla="*/ 3750734 w 7831667"/>
              <a:gd name="connsiteY77" fmla="*/ 1234023 h 1547290"/>
              <a:gd name="connsiteX78" fmla="*/ 3801534 w 7831667"/>
              <a:gd name="connsiteY78" fmla="*/ 1250956 h 1547290"/>
              <a:gd name="connsiteX79" fmla="*/ 4038600 w 7831667"/>
              <a:gd name="connsiteY79" fmla="*/ 1267890 h 1547290"/>
              <a:gd name="connsiteX80" fmla="*/ 4080934 w 7831667"/>
              <a:gd name="connsiteY80" fmla="*/ 1276356 h 1547290"/>
              <a:gd name="connsiteX81" fmla="*/ 4114800 w 7831667"/>
              <a:gd name="connsiteY81" fmla="*/ 1284823 h 1547290"/>
              <a:gd name="connsiteX82" fmla="*/ 4334934 w 7831667"/>
              <a:gd name="connsiteY82" fmla="*/ 1276356 h 1547290"/>
              <a:gd name="connsiteX83" fmla="*/ 4385734 w 7831667"/>
              <a:gd name="connsiteY83" fmla="*/ 1267890 h 1547290"/>
              <a:gd name="connsiteX84" fmla="*/ 4453467 w 7831667"/>
              <a:gd name="connsiteY84" fmla="*/ 1259423 h 1547290"/>
              <a:gd name="connsiteX85" fmla="*/ 4478867 w 7831667"/>
              <a:gd name="connsiteY85" fmla="*/ 1242490 h 1547290"/>
              <a:gd name="connsiteX86" fmla="*/ 4499429 w 7831667"/>
              <a:gd name="connsiteY86" fmla="*/ 1174152 h 1547290"/>
              <a:gd name="connsiteX87" fmla="*/ 4724400 w 7831667"/>
              <a:gd name="connsiteY87" fmla="*/ 1077995 h 1547290"/>
              <a:gd name="connsiteX88" fmla="*/ 4989891 w 7831667"/>
              <a:gd name="connsiteY88" fmla="*/ 878423 h 1547290"/>
              <a:gd name="connsiteX89" fmla="*/ 5046134 w 7831667"/>
              <a:gd name="connsiteY89" fmla="*/ 886890 h 1547290"/>
              <a:gd name="connsiteX90" fmla="*/ 5096934 w 7831667"/>
              <a:gd name="connsiteY90" fmla="*/ 819156 h 1547290"/>
              <a:gd name="connsiteX91" fmla="*/ 5122334 w 7831667"/>
              <a:gd name="connsiteY91" fmla="*/ 776823 h 1547290"/>
              <a:gd name="connsiteX92" fmla="*/ 5173134 w 7831667"/>
              <a:gd name="connsiteY92" fmla="*/ 726023 h 1547290"/>
              <a:gd name="connsiteX93" fmla="*/ 5207000 w 7831667"/>
              <a:gd name="connsiteY93" fmla="*/ 666756 h 1547290"/>
              <a:gd name="connsiteX94" fmla="*/ 5266267 w 7831667"/>
              <a:gd name="connsiteY94" fmla="*/ 565156 h 1547290"/>
              <a:gd name="connsiteX95" fmla="*/ 5520267 w 7831667"/>
              <a:gd name="connsiteY95" fmla="*/ 218023 h 1547290"/>
              <a:gd name="connsiteX96" fmla="*/ 5617634 w 7831667"/>
              <a:gd name="connsiteY96" fmla="*/ 78323 h 1547290"/>
              <a:gd name="connsiteX97" fmla="*/ 5670248 w 7831667"/>
              <a:gd name="connsiteY97" fmla="*/ 52923 h 1547290"/>
              <a:gd name="connsiteX98" fmla="*/ 5833534 w 7831667"/>
              <a:gd name="connsiteY98" fmla="*/ 6356 h 1547290"/>
              <a:gd name="connsiteX99" fmla="*/ 5952067 w 7831667"/>
              <a:gd name="connsiteY99" fmla="*/ 14823 h 1547290"/>
              <a:gd name="connsiteX100" fmla="*/ 6082091 w 7831667"/>
              <a:gd name="connsiteY100" fmla="*/ 137590 h 1547290"/>
              <a:gd name="connsiteX101" fmla="*/ 6544734 w 7831667"/>
              <a:gd name="connsiteY101" fmla="*/ 483513 h 1547290"/>
              <a:gd name="connsiteX102" fmla="*/ 6869491 w 7831667"/>
              <a:gd name="connsiteY102" fmla="*/ 705461 h 1547290"/>
              <a:gd name="connsiteX103" fmla="*/ 6993467 w 7831667"/>
              <a:gd name="connsiteY103" fmla="*/ 597209 h 1547290"/>
              <a:gd name="connsiteX104" fmla="*/ 7103534 w 7831667"/>
              <a:gd name="connsiteY104" fmla="*/ 531290 h 1547290"/>
              <a:gd name="connsiteX105" fmla="*/ 7190015 w 7831667"/>
              <a:gd name="connsiteY105" fmla="*/ 559713 h 1547290"/>
              <a:gd name="connsiteX106" fmla="*/ 7335763 w 7831667"/>
              <a:gd name="connsiteY106" fmla="*/ 487747 h 1547290"/>
              <a:gd name="connsiteX107" fmla="*/ 7476067 w 7831667"/>
              <a:gd name="connsiteY107" fmla="*/ 480490 h 1547290"/>
              <a:gd name="connsiteX108" fmla="*/ 7526867 w 7831667"/>
              <a:gd name="connsiteY108" fmla="*/ 565156 h 1547290"/>
              <a:gd name="connsiteX109" fmla="*/ 7577667 w 7831667"/>
              <a:gd name="connsiteY109" fmla="*/ 709090 h 1547290"/>
              <a:gd name="connsiteX110" fmla="*/ 7586134 w 7831667"/>
              <a:gd name="connsiteY110" fmla="*/ 751423 h 1547290"/>
              <a:gd name="connsiteX111" fmla="*/ 7628467 w 7831667"/>
              <a:gd name="connsiteY111" fmla="*/ 785290 h 1547290"/>
              <a:gd name="connsiteX112" fmla="*/ 7662334 w 7831667"/>
              <a:gd name="connsiteY112" fmla="*/ 802223 h 1547290"/>
              <a:gd name="connsiteX113" fmla="*/ 7696200 w 7831667"/>
              <a:gd name="connsiteY113" fmla="*/ 827623 h 1547290"/>
              <a:gd name="connsiteX114" fmla="*/ 7730067 w 7831667"/>
              <a:gd name="connsiteY114" fmla="*/ 836090 h 1547290"/>
              <a:gd name="connsiteX115" fmla="*/ 7763934 w 7831667"/>
              <a:gd name="connsiteY115" fmla="*/ 853023 h 1547290"/>
              <a:gd name="connsiteX116" fmla="*/ 7814734 w 7831667"/>
              <a:gd name="connsiteY116" fmla="*/ 903823 h 1547290"/>
              <a:gd name="connsiteX117" fmla="*/ 7831667 w 7831667"/>
              <a:gd name="connsiteY117" fmla="*/ 929223 h 1547290"/>
              <a:gd name="connsiteX0" fmla="*/ 0 w 7831667"/>
              <a:gd name="connsiteY0" fmla="*/ 1132423 h 1547290"/>
              <a:gd name="connsiteX1" fmla="*/ 8467 w 7831667"/>
              <a:gd name="connsiteY1" fmla="*/ 1174756 h 1547290"/>
              <a:gd name="connsiteX2" fmla="*/ 33867 w 7831667"/>
              <a:gd name="connsiteY2" fmla="*/ 1183223 h 1547290"/>
              <a:gd name="connsiteX3" fmla="*/ 67734 w 7831667"/>
              <a:gd name="connsiteY3" fmla="*/ 1200156 h 1547290"/>
              <a:gd name="connsiteX4" fmla="*/ 84667 w 7831667"/>
              <a:gd name="connsiteY4" fmla="*/ 1217090 h 1547290"/>
              <a:gd name="connsiteX5" fmla="*/ 135467 w 7831667"/>
              <a:gd name="connsiteY5" fmla="*/ 1242490 h 1547290"/>
              <a:gd name="connsiteX6" fmla="*/ 160867 w 7831667"/>
              <a:gd name="connsiteY6" fmla="*/ 1267890 h 1547290"/>
              <a:gd name="connsiteX7" fmla="*/ 194734 w 7831667"/>
              <a:gd name="connsiteY7" fmla="*/ 1284823 h 1547290"/>
              <a:gd name="connsiteX8" fmla="*/ 237067 w 7831667"/>
              <a:gd name="connsiteY8" fmla="*/ 1310223 h 1547290"/>
              <a:gd name="connsiteX9" fmla="*/ 262467 w 7831667"/>
              <a:gd name="connsiteY9" fmla="*/ 1327156 h 1547290"/>
              <a:gd name="connsiteX10" fmla="*/ 313267 w 7831667"/>
              <a:gd name="connsiteY10" fmla="*/ 1344090 h 1547290"/>
              <a:gd name="connsiteX11" fmla="*/ 372534 w 7831667"/>
              <a:gd name="connsiteY11" fmla="*/ 1386423 h 1547290"/>
              <a:gd name="connsiteX12" fmla="*/ 423334 w 7831667"/>
              <a:gd name="connsiteY12" fmla="*/ 1403356 h 1547290"/>
              <a:gd name="connsiteX13" fmla="*/ 448734 w 7831667"/>
              <a:gd name="connsiteY13" fmla="*/ 1411823 h 1547290"/>
              <a:gd name="connsiteX14" fmla="*/ 533400 w 7831667"/>
              <a:gd name="connsiteY14" fmla="*/ 1471090 h 1547290"/>
              <a:gd name="connsiteX15" fmla="*/ 567267 w 7831667"/>
              <a:gd name="connsiteY15" fmla="*/ 1479556 h 1547290"/>
              <a:gd name="connsiteX16" fmla="*/ 592667 w 7831667"/>
              <a:gd name="connsiteY16" fmla="*/ 1488023 h 1547290"/>
              <a:gd name="connsiteX17" fmla="*/ 677334 w 7831667"/>
              <a:gd name="connsiteY17" fmla="*/ 1504956 h 1547290"/>
              <a:gd name="connsiteX18" fmla="*/ 736600 w 7831667"/>
              <a:gd name="connsiteY18" fmla="*/ 1521890 h 1547290"/>
              <a:gd name="connsiteX19" fmla="*/ 778934 w 7831667"/>
              <a:gd name="connsiteY19" fmla="*/ 1530356 h 1547290"/>
              <a:gd name="connsiteX20" fmla="*/ 855134 w 7831667"/>
              <a:gd name="connsiteY20" fmla="*/ 1547290 h 1547290"/>
              <a:gd name="connsiteX21" fmla="*/ 1075267 w 7831667"/>
              <a:gd name="connsiteY21" fmla="*/ 1538823 h 1547290"/>
              <a:gd name="connsiteX22" fmla="*/ 1134534 w 7831667"/>
              <a:gd name="connsiteY22" fmla="*/ 1521890 h 1547290"/>
              <a:gd name="connsiteX23" fmla="*/ 1210734 w 7831667"/>
              <a:gd name="connsiteY23" fmla="*/ 1504956 h 1547290"/>
              <a:gd name="connsiteX24" fmla="*/ 1244600 w 7831667"/>
              <a:gd name="connsiteY24" fmla="*/ 1488023 h 1547290"/>
              <a:gd name="connsiteX25" fmla="*/ 1278467 w 7831667"/>
              <a:gd name="connsiteY25" fmla="*/ 1479556 h 1547290"/>
              <a:gd name="connsiteX26" fmla="*/ 1303867 w 7831667"/>
              <a:gd name="connsiteY26" fmla="*/ 1462623 h 1547290"/>
              <a:gd name="connsiteX27" fmla="*/ 1337734 w 7831667"/>
              <a:gd name="connsiteY27" fmla="*/ 1454156 h 1547290"/>
              <a:gd name="connsiteX28" fmla="*/ 1380067 w 7831667"/>
              <a:gd name="connsiteY28" fmla="*/ 1437223 h 1547290"/>
              <a:gd name="connsiteX29" fmla="*/ 1413934 w 7831667"/>
              <a:gd name="connsiteY29" fmla="*/ 1428756 h 1547290"/>
              <a:gd name="connsiteX30" fmla="*/ 1481667 w 7831667"/>
              <a:gd name="connsiteY30" fmla="*/ 1403356 h 1547290"/>
              <a:gd name="connsiteX31" fmla="*/ 1540934 w 7831667"/>
              <a:gd name="connsiteY31" fmla="*/ 1377956 h 1547290"/>
              <a:gd name="connsiteX32" fmla="*/ 1574800 w 7831667"/>
              <a:gd name="connsiteY32" fmla="*/ 1361023 h 1547290"/>
              <a:gd name="connsiteX33" fmla="*/ 1600200 w 7831667"/>
              <a:gd name="connsiteY33" fmla="*/ 1352556 h 1547290"/>
              <a:gd name="connsiteX34" fmla="*/ 1625600 w 7831667"/>
              <a:gd name="connsiteY34" fmla="*/ 1327156 h 1547290"/>
              <a:gd name="connsiteX35" fmla="*/ 1642534 w 7831667"/>
              <a:gd name="connsiteY35" fmla="*/ 1301756 h 1547290"/>
              <a:gd name="connsiteX36" fmla="*/ 1667934 w 7831667"/>
              <a:gd name="connsiteY36" fmla="*/ 1267890 h 1547290"/>
              <a:gd name="connsiteX37" fmla="*/ 1684867 w 7831667"/>
              <a:gd name="connsiteY37" fmla="*/ 1242490 h 1547290"/>
              <a:gd name="connsiteX38" fmla="*/ 1718734 w 7831667"/>
              <a:gd name="connsiteY38" fmla="*/ 1217090 h 1547290"/>
              <a:gd name="connsiteX39" fmla="*/ 1769534 w 7831667"/>
              <a:gd name="connsiteY39" fmla="*/ 1166290 h 1547290"/>
              <a:gd name="connsiteX40" fmla="*/ 1811867 w 7831667"/>
              <a:gd name="connsiteY40" fmla="*/ 1140890 h 1547290"/>
              <a:gd name="connsiteX41" fmla="*/ 1845734 w 7831667"/>
              <a:gd name="connsiteY41" fmla="*/ 1115490 h 1547290"/>
              <a:gd name="connsiteX42" fmla="*/ 1879600 w 7831667"/>
              <a:gd name="connsiteY42" fmla="*/ 1098556 h 1547290"/>
              <a:gd name="connsiteX43" fmla="*/ 1896534 w 7831667"/>
              <a:gd name="connsiteY43" fmla="*/ 1073156 h 1547290"/>
              <a:gd name="connsiteX44" fmla="*/ 1947334 w 7831667"/>
              <a:gd name="connsiteY44" fmla="*/ 1022356 h 1547290"/>
              <a:gd name="connsiteX45" fmla="*/ 1972734 w 7831667"/>
              <a:gd name="connsiteY45" fmla="*/ 1005423 h 1547290"/>
              <a:gd name="connsiteX46" fmla="*/ 1998134 w 7831667"/>
              <a:gd name="connsiteY46" fmla="*/ 980023 h 1547290"/>
              <a:gd name="connsiteX47" fmla="*/ 2057400 w 7831667"/>
              <a:gd name="connsiteY47" fmla="*/ 937690 h 1547290"/>
              <a:gd name="connsiteX48" fmla="*/ 2125134 w 7831667"/>
              <a:gd name="connsiteY48" fmla="*/ 912290 h 1547290"/>
              <a:gd name="connsiteX49" fmla="*/ 2159000 w 7831667"/>
              <a:gd name="connsiteY49" fmla="*/ 886890 h 1547290"/>
              <a:gd name="connsiteX50" fmla="*/ 2209800 w 7831667"/>
              <a:gd name="connsiteY50" fmla="*/ 869956 h 1547290"/>
              <a:gd name="connsiteX51" fmla="*/ 2243667 w 7831667"/>
              <a:gd name="connsiteY51" fmla="*/ 853023 h 1547290"/>
              <a:gd name="connsiteX52" fmla="*/ 2336800 w 7831667"/>
              <a:gd name="connsiteY52" fmla="*/ 861490 h 1547290"/>
              <a:gd name="connsiteX53" fmla="*/ 2353734 w 7831667"/>
              <a:gd name="connsiteY53" fmla="*/ 878423 h 1547290"/>
              <a:gd name="connsiteX54" fmla="*/ 2404534 w 7831667"/>
              <a:gd name="connsiteY54" fmla="*/ 895356 h 1547290"/>
              <a:gd name="connsiteX55" fmla="*/ 2540000 w 7831667"/>
              <a:gd name="connsiteY55" fmla="*/ 886890 h 1547290"/>
              <a:gd name="connsiteX56" fmla="*/ 2582334 w 7831667"/>
              <a:gd name="connsiteY56" fmla="*/ 878423 h 1547290"/>
              <a:gd name="connsiteX57" fmla="*/ 2616200 w 7831667"/>
              <a:gd name="connsiteY57" fmla="*/ 886890 h 1547290"/>
              <a:gd name="connsiteX58" fmla="*/ 2658534 w 7831667"/>
              <a:gd name="connsiteY58" fmla="*/ 903823 h 1547290"/>
              <a:gd name="connsiteX59" fmla="*/ 2683934 w 7831667"/>
              <a:gd name="connsiteY59" fmla="*/ 912290 h 1547290"/>
              <a:gd name="connsiteX60" fmla="*/ 2734734 w 7831667"/>
              <a:gd name="connsiteY60" fmla="*/ 937690 h 1547290"/>
              <a:gd name="connsiteX61" fmla="*/ 2751667 w 7831667"/>
              <a:gd name="connsiteY61" fmla="*/ 963090 h 1547290"/>
              <a:gd name="connsiteX62" fmla="*/ 2827867 w 7831667"/>
              <a:gd name="connsiteY62" fmla="*/ 988490 h 1547290"/>
              <a:gd name="connsiteX63" fmla="*/ 2853267 w 7831667"/>
              <a:gd name="connsiteY63" fmla="*/ 996956 h 1547290"/>
              <a:gd name="connsiteX64" fmla="*/ 2921000 w 7831667"/>
              <a:gd name="connsiteY64" fmla="*/ 1005423 h 1547290"/>
              <a:gd name="connsiteX65" fmla="*/ 2980267 w 7831667"/>
              <a:gd name="connsiteY65" fmla="*/ 1013890 h 1547290"/>
              <a:gd name="connsiteX66" fmla="*/ 3073400 w 7831667"/>
              <a:gd name="connsiteY66" fmla="*/ 1047756 h 1547290"/>
              <a:gd name="connsiteX67" fmla="*/ 3104849 w 7831667"/>
              <a:gd name="connsiteY67" fmla="*/ 1108233 h 1547290"/>
              <a:gd name="connsiteX68" fmla="*/ 3158068 w 7831667"/>
              <a:gd name="connsiteY68" fmla="*/ 1115490 h 1547290"/>
              <a:gd name="connsiteX69" fmla="*/ 3293534 w 7831667"/>
              <a:gd name="connsiteY69" fmla="*/ 1132423 h 1547290"/>
              <a:gd name="connsiteX70" fmla="*/ 3335867 w 7831667"/>
              <a:gd name="connsiteY70" fmla="*/ 1149356 h 1547290"/>
              <a:gd name="connsiteX71" fmla="*/ 3437467 w 7831667"/>
              <a:gd name="connsiteY71" fmla="*/ 1157823 h 1547290"/>
              <a:gd name="connsiteX72" fmla="*/ 3505200 w 7831667"/>
              <a:gd name="connsiteY72" fmla="*/ 1166290 h 1547290"/>
              <a:gd name="connsiteX73" fmla="*/ 3547534 w 7831667"/>
              <a:gd name="connsiteY73" fmla="*/ 1174756 h 1547290"/>
              <a:gd name="connsiteX74" fmla="*/ 3598334 w 7831667"/>
              <a:gd name="connsiteY74" fmla="*/ 1183223 h 1547290"/>
              <a:gd name="connsiteX75" fmla="*/ 3640667 w 7831667"/>
              <a:gd name="connsiteY75" fmla="*/ 1208623 h 1547290"/>
              <a:gd name="connsiteX76" fmla="*/ 3666067 w 7831667"/>
              <a:gd name="connsiteY76" fmla="*/ 1217090 h 1547290"/>
              <a:gd name="connsiteX77" fmla="*/ 3750734 w 7831667"/>
              <a:gd name="connsiteY77" fmla="*/ 1234023 h 1547290"/>
              <a:gd name="connsiteX78" fmla="*/ 3801534 w 7831667"/>
              <a:gd name="connsiteY78" fmla="*/ 1250956 h 1547290"/>
              <a:gd name="connsiteX79" fmla="*/ 4038600 w 7831667"/>
              <a:gd name="connsiteY79" fmla="*/ 1267890 h 1547290"/>
              <a:gd name="connsiteX80" fmla="*/ 4080934 w 7831667"/>
              <a:gd name="connsiteY80" fmla="*/ 1276356 h 1547290"/>
              <a:gd name="connsiteX81" fmla="*/ 4114800 w 7831667"/>
              <a:gd name="connsiteY81" fmla="*/ 1284823 h 1547290"/>
              <a:gd name="connsiteX82" fmla="*/ 4334934 w 7831667"/>
              <a:gd name="connsiteY82" fmla="*/ 1276356 h 1547290"/>
              <a:gd name="connsiteX83" fmla="*/ 4385734 w 7831667"/>
              <a:gd name="connsiteY83" fmla="*/ 1267890 h 1547290"/>
              <a:gd name="connsiteX84" fmla="*/ 4453467 w 7831667"/>
              <a:gd name="connsiteY84" fmla="*/ 1259423 h 1547290"/>
              <a:gd name="connsiteX85" fmla="*/ 4478867 w 7831667"/>
              <a:gd name="connsiteY85" fmla="*/ 1242490 h 1547290"/>
              <a:gd name="connsiteX86" fmla="*/ 4499429 w 7831667"/>
              <a:gd name="connsiteY86" fmla="*/ 1174152 h 1547290"/>
              <a:gd name="connsiteX87" fmla="*/ 4724400 w 7831667"/>
              <a:gd name="connsiteY87" fmla="*/ 1077995 h 1547290"/>
              <a:gd name="connsiteX88" fmla="*/ 4989891 w 7831667"/>
              <a:gd name="connsiteY88" fmla="*/ 878423 h 1547290"/>
              <a:gd name="connsiteX89" fmla="*/ 5046134 w 7831667"/>
              <a:gd name="connsiteY89" fmla="*/ 886890 h 1547290"/>
              <a:gd name="connsiteX90" fmla="*/ 5096934 w 7831667"/>
              <a:gd name="connsiteY90" fmla="*/ 819156 h 1547290"/>
              <a:gd name="connsiteX91" fmla="*/ 5122334 w 7831667"/>
              <a:gd name="connsiteY91" fmla="*/ 776823 h 1547290"/>
              <a:gd name="connsiteX92" fmla="*/ 5173134 w 7831667"/>
              <a:gd name="connsiteY92" fmla="*/ 726023 h 1547290"/>
              <a:gd name="connsiteX93" fmla="*/ 5207000 w 7831667"/>
              <a:gd name="connsiteY93" fmla="*/ 666756 h 1547290"/>
              <a:gd name="connsiteX94" fmla="*/ 5266267 w 7831667"/>
              <a:gd name="connsiteY94" fmla="*/ 565156 h 1547290"/>
              <a:gd name="connsiteX95" fmla="*/ 5520267 w 7831667"/>
              <a:gd name="connsiteY95" fmla="*/ 218023 h 1547290"/>
              <a:gd name="connsiteX96" fmla="*/ 5617634 w 7831667"/>
              <a:gd name="connsiteY96" fmla="*/ 78323 h 1547290"/>
              <a:gd name="connsiteX97" fmla="*/ 5670248 w 7831667"/>
              <a:gd name="connsiteY97" fmla="*/ 52923 h 1547290"/>
              <a:gd name="connsiteX98" fmla="*/ 5833534 w 7831667"/>
              <a:gd name="connsiteY98" fmla="*/ 6356 h 1547290"/>
              <a:gd name="connsiteX99" fmla="*/ 5952067 w 7831667"/>
              <a:gd name="connsiteY99" fmla="*/ 14823 h 1547290"/>
              <a:gd name="connsiteX100" fmla="*/ 6082091 w 7831667"/>
              <a:gd name="connsiteY100" fmla="*/ 137590 h 1547290"/>
              <a:gd name="connsiteX101" fmla="*/ 6544734 w 7831667"/>
              <a:gd name="connsiteY101" fmla="*/ 483513 h 1547290"/>
              <a:gd name="connsiteX102" fmla="*/ 6869491 w 7831667"/>
              <a:gd name="connsiteY102" fmla="*/ 705461 h 1547290"/>
              <a:gd name="connsiteX103" fmla="*/ 6993467 w 7831667"/>
              <a:gd name="connsiteY103" fmla="*/ 597209 h 1547290"/>
              <a:gd name="connsiteX104" fmla="*/ 7103534 w 7831667"/>
              <a:gd name="connsiteY104" fmla="*/ 531290 h 1547290"/>
              <a:gd name="connsiteX105" fmla="*/ 7190015 w 7831667"/>
              <a:gd name="connsiteY105" fmla="*/ 559713 h 1547290"/>
              <a:gd name="connsiteX106" fmla="*/ 7335763 w 7831667"/>
              <a:gd name="connsiteY106" fmla="*/ 487747 h 1547290"/>
              <a:gd name="connsiteX107" fmla="*/ 7526867 w 7831667"/>
              <a:gd name="connsiteY107" fmla="*/ 565156 h 1547290"/>
              <a:gd name="connsiteX108" fmla="*/ 7577667 w 7831667"/>
              <a:gd name="connsiteY108" fmla="*/ 709090 h 1547290"/>
              <a:gd name="connsiteX109" fmla="*/ 7586134 w 7831667"/>
              <a:gd name="connsiteY109" fmla="*/ 751423 h 1547290"/>
              <a:gd name="connsiteX110" fmla="*/ 7628467 w 7831667"/>
              <a:gd name="connsiteY110" fmla="*/ 785290 h 1547290"/>
              <a:gd name="connsiteX111" fmla="*/ 7662334 w 7831667"/>
              <a:gd name="connsiteY111" fmla="*/ 802223 h 1547290"/>
              <a:gd name="connsiteX112" fmla="*/ 7696200 w 7831667"/>
              <a:gd name="connsiteY112" fmla="*/ 827623 h 1547290"/>
              <a:gd name="connsiteX113" fmla="*/ 7730067 w 7831667"/>
              <a:gd name="connsiteY113" fmla="*/ 836090 h 1547290"/>
              <a:gd name="connsiteX114" fmla="*/ 7763934 w 7831667"/>
              <a:gd name="connsiteY114" fmla="*/ 853023 h 1547290"/>
              <a:gd name="connsiteX115" fmla="*/ 7814734 w 7831667"/>
              <a:gd name="connsiteY115" fmla="*/ 903823 h 1547290"/>
              <a:gd name="connsiteX116" fmla="*/ 7831667 w 7831667"/>
              <a:gd name="connsiteY116" fmla="*/ 929223 h 1547290"/>
              <a:gd name="connsiteX0" fmla="*/ 0 w 7831667"/>
              <a:gd name="connsiteY0" fmla="*/ 1132423 h 1547290"/>
              <a:gd name="connsiteX1" fmla="*/ 8467 w 7831667"/>
              <a:gd name="connsiteY1" fmla="*/ 1174756 h 1547290"/>
              <a:gd name="connsiteX2" fmla="*/ 33867 w 7831667"/>
              <a:gd name="connsiteY2" fmla="*/ 1183223 h 1547290"/>
              <a:gd name="connsiteX3" fmla="*/ 67734 w 7831667"/>
              <a:gd name="connsiteY3" fmla="*/ 1200156 h 1547290"/>
              <a:gd name="connsiteX4" fmla="*/ 84667 w 7831667"/>
              <a:gd name="connsiteY4" fmla="*/ 1217090 h 1547290"/>
              <a:gd name="connsiteX5" fmla="*/ 135467 w 7831667"/>
              <a:gd name="connsiteY5" fmla="*/ 1242490 h 1547290"/>
              <a:gd name="connsiteX6" fmla="*/ 160867 w 7831667"/>
              <a:gd name="connsiteY6" fmla="*/ 1267890 h 1547290"/>
              <a:gd name="connsiteX7" fmla="*/ 194734 w 7831667"/>
              <a:gd name="connsiteY7" fmla="*/ 1284823 h 1547290"/>
              <a:gd name="connsiteX8" fmla="*/ 237067 w 7831667"/>
              <a:gd name="connsiteY8" fmla="*/ 1310223 h 1547290"/>
              <a:gd name="connsiteX9" fmla="*/ 262467 w 7831667"/>
              <a:gd name="connsiteY9" fmla="*/ 1327156 h 1547290"/>
              <a:gd name="connsiteX10" fmla="*/ 313267 w 7831667"/>
              <a:gd name="connsiteY10" fmla="*/ 1344090 h 1547290"/>
              <a:gd name="connsiteX11" fmla="*/ 372534 w 7831667"/>
              <a:gd name="connsiteY11" fmla="*/ 1386423 h 1547290"/>
              <a:gd name="connsiteX12" fmla="*/ 423334 w 7831667"/>
              <a:gd name="connsiteY12" fmla="*/ 1403356 h 1547290"/>
              <a:gd name="connsiteX13" fmla="*/ 448734 w 7831667"/>
              <a:gd name="connsiteY13" fmla="*/ 1411823 h 1547290"/>
              <a:gd name="connsiteX14" fmla="*/ 533400 w 7831667"/>
              <a:gd name="connsiteY14" fmla="*/ 1471090 h 1547290"/>
              <a:gd name="connsiteX15" fmla="*/ 567267 w 7831667"/>
              <a:gd name="connsiteY15" fmla="*/ 1479556 h 1547290"/>
              <a:gd name="connsiteX16" fmla="*/ 592667 w 7831667"/>
              <a:gd name="connsiteY16" fmla="*/ 1488023 h 1547290"/>
              <a:gd name="connsiteX17" fmla="*/ 677334 w 7831667"/>
              <a:gd name="connsiteY17" fmla="*/ 1504956 h 1547290"/>
              <a:gd name="connsiteX18" fmla="*/ 736600 w 7831667"/>
              <a:gd name="connsiteY18" fmla="*/ 1521890 h 1547290"/>
              <a:gd name="connsiteX19" fmla="*/ 778934 w 7831667"/>
              <a:gd name="connsiteY19" fmla="*/ 1530356 h 1547290"/>
              <a:gd name="connsiteX20" fmla="*/ 855134 w 7831667"/>
              <a:gd name="connsiteY20" fmla="*/ 1547290 h 1547290"/>
              <a:gd name="connsiteX21" fmla="*/ 1075267 w 7831667"/>
              <a:gd name="connsiteY21" fmla="*/ 1538823 h 1547290"/>
              <a:gd name="connsiteX22" fmla="*/ 1134534 w 7831667"/>
              <a:gd name="connsiteY22" fmla="*/ 1521890 h 1547290"/>
              <a:gd name="connsiteX23" fmla="*/ 1210734 w 7831667"/>
              <a:gd name="connsiteY23" fmla="*/ 1504956 h 1547290"/>
              <a:gd name="connsiteX24" fmla="*/ 1244600 w 7831667"/>
              <a:gd name="connsiteY24" fmla="*/ 1488023 h 1547290"/>
              <a:gd name="connsiteX25" fmla="*/ 1278467 w 7831667"/>
              <a:gd name="connsiteY25" fmla="*/ 1479556 h 1547290"/>
              <a:gd name="connsiteX26" fmla="*/ 1303867 w 7831667"/>
              <a:gd name="connsiteY26" fmla="*/ 1462623 h 1547290"/>
              <a:gd name="connsiteX27" fmla="*/ 1337734 w 7831667"/>
              <a:gd name="connsiteY27" fmla="*/ 1454156 h 1547290"/>
              <a:gd name="connsiteX28" fmla="*/ 1380067 w 7831667"/>
              <a:gd name="connsiteY28" fmla="*/ 1437223 h 1547290"/>
              <a:gd name="connsiteX29" fmla="*/ 1413934 w 7831667"/>
              <a:gd name="connsiteY29" fmla="*/ 1428756 h 1547290"/>
              <a:gd name="connsiteX30" fmla="*/ 1481667 w 7831667"/>
              <a:gd name="connsiteY30" fmla="*/ 1403356 h 1547290"/>
              <a:gd name="connsiteX31" fmla="*/ 1540934 w 7831667"/>
              <a:gd name="connsiteY31" fmla="*/ 1377956 h 1547290"/>
              <a:gd name="connsiteX32" fmla="*/ 1574800 w 7831667"/>
              <a:gd name="connsiteY32" fmla="*/ 1361023 h 1547290"/>
              <a:gd name="connsiteX33" fmla="*/ 1600200 w 7831667"/>
              <a:gd name="connsiteY33" fmla="*/ 1352556 h 1547290"/>
              <a:gd name="connsiteX34" fmla="*/ 1625600 w 7831667"/>
              <a:gd name="connsiteY34" fmla="*/ 1327156 h 1547290"/>
              <a:gd name="connsiteX35" fmla="*/ 1642534 w 7831667"/>
              <a:gd name="connsiteY35" fmla="*/ 1301756 h 1547290"/>
              <a:gd name="connsiteX36" fmla="*/ 1667934 w 7831667"/>
              <a:gd name="connsiteY36" fmla="*/ 1267890 h 1547290"/>
              <a:gd name="connsiteX37" fmla="*/ 1684867 w 7831667"/>
              <a:gd name="connsiteY37" fmla="*/ 1242490 h 1547290"/>
              <a:gd name="connsiteX38" fmla="*/ 1718734 w 7831667"/>
              <a:gd name="connsiteY38" fmla="*/ 1217090 h 1547290"/>
              <a:gd name="connsiteX39" fmla="*/ 1769534 w 7831667"/>
              <a:gd name="connsiteY39" fmla="*/ 1166290 h 1547290"/>
              <a:gd name="connsiteX40" fmla="*/ 1811867 w 7831667"/>
              <a:gd name="connsiteY40" fmla="*/ 1140890 h 1547290"/>
              <a:gd name="connsiteX41" fmla="*/ 1845734 w 7831667"/>
              <a:gd name="connsiteY41" fmla="*/ 1115490 h 1547290"/>
              <a:gd name="connsiteX42" fmla="*/ 1879600 w 7831667"/>
              <a:gd name="connsiteY42" fmla="*/ 1098556 h 1547290"/>
              <a:gd name="connsiteX43" fmla="*/ 1896534 w 7831667"/>
              <a:gd name="connsiteY43" fmla="*/ 1073156 h 1547290"/>
              <a:gd name="connsiteX44" fmla="*/ 1947334 w 7831667"/>
              <a:gd name="connsiteY44" fmla="*/ 1022356 h 1547290"/>
              <a:gd name="connsiteX45" fmla="*/ 1972734 w 7831667"/>
              <a:gd name="connsiteY45" fmla="*/ 1005423 h 1547290"/>
              <a:gd name="connsiteX46" fmla="*/ 1998134 w 7831667"/>
              <a:gd name="connsiteY46" fmla="*/ 980023 h 1547290"/>
              <a:gd name="connsiteX47" fmla="*/ 2057400 w 7831667"/>
              <a:gd name="connsiteY47" fmla="*/ 937690 h 1547290"/>
              <a:gd name="connsiteX48" fmla="*/ 2125134 w 7831667"/>
              <a:gd name="connsiteY48" fmla="*/ 912290 h 1547290"/>
              <a:gd name="connsiteX49" fmla="*/ 2159000 w 7831667"/>
              <a:gd name="connsiteY49" fmla="*/ 886890 h 1547290"/>
              <a:gd name="connsiteX50" fmla="*/ 2209800 w 7831667"/>
              <a:gd name="connsiteY50" fmla="*/ 869956 h 1547290"/>
              <a:gd name="connsiteX51" fmla="*/ 2243667 w 7831667"/>
              <a:gd name="connsiteY51" fmla="*/ 853023 h 1547290"/>
              <a:gd name="connsiteX52" fmla="*/ 2336800 w 7831667"/>
              <a:gd name="connsiteY52" fmla="*/ 861490 h 1547290"/>
              <a:gd name="connsiteX53" fmla="*/ 2353734 w 7831667"/>
              <a:gd name="connsiteY53" fmla="*/ 878423 h 1547290"/>
              <a:gd name="connsiteX54" fmla="*/ 2404534 w 7831667"/>
              <a:gd name="connsiteY54" fmla="*/ 895356 h 1547290"/>
              <a:gd name="connsiteX55" fmla="*/ 2540000 w 7831667"/>
              <a:gd name="connsiteY55" fmla="*/ 886890 h 1547290"/>
              <a:gd name="connsiteX56" fmla="*/ 2582334 w 7831667"/>
              <a:gd name="connsiteY56" fmla="*/ 878423 h 1547290"/>
              <a:gd name="connsiteX57" fmla="*/ 2616200 w 7831667"/>
              <a:gd name="connsiteY57" fmla="*/ 886890 h 1547290"/>
              <a:gd name="connsiteX58" fmla="*/ 2658534 w 7831667"/>
              <a:gd name="connsiteY58" fmla="*/ 903823 h 1547290"/>
              <a:gd name="connsiteX59" fmla="*/ 2683934 w 7831667"/>
              <a:gd name="connsiteY59" fmla="*/ 912290 h 1547290"/>
              <a:gd name="connsiteX60" fmla="*/ 2734734 w 7831667"/>
              <a:gd name="connsiteY60" fmla="*/ 937690 h 1547290"/>
              <a:gd name="connsiteX61" fmla="*/ 2751667 w 7831667"/>
              <a:gd name="connsiteY61" fmla="*/ 963090 h 1547290"/>
              <a:gd name="connsiteX62" fmla="*/ 2827867 w 7831667"/>
              <a:gd name="connsiteY62" fmla="*/ 988490 h 1547290"/>
              <a:gd name="connsiteX63" fmla="*/ 2853267 w 7831667"/>
              <a:gd name="connsiteY63" fmla="*/ 996956 h 1547290"/>
              <a:gd name="connsiteX64" fmla="*/ 2921000 w 7831667"/>
              <a:gd name="connsiteY64" fmla="*/ 1005423 h 1547290"/>
              <a:gd name="connsiteX65" fmla="*/ 2980267 w 7831667"/>
              <a:gd name="connsiteY65" fmla="*/ 1013890 h 1547290"/>
              <a:gd name="connsiteX66" fmla="*/ 3073400 w 7831667"/>
              <a:gd name="connsiteY66" fmla="*/ 1047756 h 1547290"/>
              <a:gd name="connsiteX67" fmla="*/ 3104849 w 7831667"/>
              <a:gd name="connsiteY67" fmla="*/ 1108233 h 1547290"/>
              <a:gd name="connsiteX68" fmla="*/ 3158068 w 7831667"/>
              <a:gd name="connsiteY68" fmla="*/ 1115490 h 1547290"/>
              <a:gd name="connsiteX69" fmla="*/ 3293534 w 7831667"/>
              <a:gd name="connsiteY69" fmla="*/ 1132423 h 1547290"/>
              <a:gd name="connsiteX70" fmla="*/ 3335867 w 7831667"/>
              <a:gd name="connsiteY70" fmla="*/ 1149356 h 1547290"/>
              <a:gd name="connsiteX71" fmla="*/ 3437467 w 7831667"/>
              <a:gd name="connsiteY71" fmla="*/ 1157823 h 1547290"/>
              <a:gd name="connsiteX72" fmla="*/ 3505200 w 7831667"/>
              <a:gd name="connsiteY72" fmla="*/ 1166290 h 1547290"/>
              <a:gd name="connsiteX73" fmla="*/ 3547534 w 7831667"/>
              <a:gd name="connsiteY73" fmla="*/ 1174756 h 1547290"/>
              <a:gd name="connsiteX74" fmla="*/ 3598334 w 7831667"/>
              <a:gd name="connsiteY74" fmla="*/ 1183223 h 1547290"/>
              <a:gd name="connsiteX75" fmla="*/ 3640667 w 7831667"/>
              <a:gd name="connsiteY75" fmla="*/ 1208623 h 1547290"/>
              <a:gd name="connsiteX76" fmla="*/ 3666067 w 7831667"/>
              <a:gd name="connsiteY76" fmla="*/ 1217090 h 1547290"/>
              <a:gd name="connsiteX77" fmla="*/ 3750734 w 7831667"/>
              <a:gd name="connsiteY77" fmla="*/ 1234023 h 1547290"/>
              <a:gd name="connsiteX78" fmla="*/ 3801534 w 7831667"/>
              <a:gd name="connsiteY78" fmla="*/ 1250956 h 1547290"/>
              <a:gd name="connsiteX79" fmla="*/ 4038600 w 7831667"/>
              <a:gd name="connsiteY79" fmla="*/ 1267890 h 1547290"/>
              <a:gd name="connsiteX80" fmla="*/ 4080934 w 7831667"/>
              <a:gd name="connsiteY80" fmla="*/ 1276356 h 1547290"/>
              <a:gd name="connsiteX81" fmla="*/ 4114800 w 7831667"/>
              <a:gd name="connsiteY81" fmla="*/ 1284823 h 1547290"/>
              <a:gd name="connsiteX82" fmla="*/ 4334934 w 7831667"/>
              <a:gd name="connsiteY82" fmla="*/ 1276356 h 1547290"/>
              <a:gd name="connsiteX83" fmla="*/ 4385734 w 7831667"/>
              <a:gd name="connsiteY83" fmla="*/ 1267890 h 1547290"/>
              <a:gd name="connsiteX84" fmla="*/ 4453467 w 7831667"/>
              <a:gd name="connsiteY84" fmla="*/ 1259423 h 1547290"/>
              <a:gd name="connsiteX85" fmla="*/ 4478867 w 7831667"/>
              <a:gd name="connsiteY85" fmla="*/ 1242490 h 1547290"/>
              <a:gd name="connsiteX86" fmla="*/ 4499429 w 7831667"/>
              <a:gd name="connsiteY86" fmla="*/ 1174152 h 1547290"/>
              <a:gd name="connsiteX87" fmla="*/ 4724400 w 7831667"/>
              <a:gd name="connsiteY87" fmla="*/ 1077995 h 1547290"/>
              <a:gd name="connsiteX88" fmla="*/ 4989891 w 7831667"/>
              <a:gd name="connsiteY88" fmla="*/ 878423 h 1547290"/>
              <a:gd name="connsiteX89" fmla="*/ 5046134 w 7831667"/>
              <a:gd name="connsiteY89" fmla="*/ 886890 h 1547290"/>
              <a:gd name="connsiteX90" fmla="*/ 5096934 w 7831667"/>
              <a:gd name="connsiteY90" fmla="*/ 819156 h 1547290"/>
              <a:gd name="connsiteX91" fmla="*/ 5122334 w 7831667"/>
              <a:gd name="connsiteY91" fmla="*/ 776823 h 1547290"/>
              <a:gd name="connsiteX92" fmla="*/ 5173134 w 7831667"/>
              <a:gd name="connsiteY92" fmla="*/ 726023 h 1547290"/>
              <a:gd name="connsiteX93" fmla="*/ 5207000 w 7831667"/>
              <a:gd name="connsiteY93" fmla="*/ 666756 h 1547290"/>
              <a:gd name="connsiteX94" fmla="*/ 5266267 w 7831667"/>
              <a:gd name="connsiteY94" fmla="*/ 565156 h 1547290"/>
              <a:gd name="connsiteX95" fmla="*/ 5520267 w 7831667"/>
              <a:gd name="connsiteY95" fmla="*/ 218023 h 1547290"/>
              <a:gd name="connsiteX96" fmla="*/ 5617634 w 7831667"/>
              <a:gd name="connsiteY96" fmla="*/ 78323 h 1547290"/>
              <a:gd name="connsiteX97" fmla="*/ 5670248 w 7831667"/>
              <a:gd name="connsiteY97" fmla="*/ 52923 h 1547290"/>
              <a:gd name="connsiteX98" fmla="*/ 5833534 w 7831667"/>
              <a:gd name="connsiteY98" fmla="*/ 6356 h 1547290"/>
              <a:gd name="connsiteX99" fmla="*/ 5952067 w 7831667"/>
              <a:gd name="connsiteY99" fmla="*/ 14823 h 1547290"/>
              <a:gd name="connsiteX100" fmla="*/ 6082091 w 7831667"/>
              <a:gd name="connsiteY100" fmla="*/ 137590 h 1547290"/>
              <a:gd name="connsiteX101" fmla="*/ 6544734 w 7831667"/>
              <a:gd name="connsiteY101" fmla="*/ 483513 h 1547290"/>
              <a:gd name="connsiteX102" fmla="*/ 6869491 w 7831667"/>
              <a:gd name="connsiteY102" fmla="*/ 705461 h 1547290"/>
              <a:gd name="connsiteX103" fmla="*/ 6993467 w 7831667"/>
              <a:gd name="connsiteY103" fmla="*/ 597209 h 1547290"/>
              <a:gd name="connsiteX104" fmla="*/ 7103534 w 7831667"/>
              <a:gd name="connsiteY104" fmla="*/ 531290 h 1547290"/>
              <a:gd name="connsiteX105" fmla="*/ 7190015 w 7831667"/>
              <a:gd name="connsiteY105" fmla="*/ 559713 h 1547290"/>
              <a:gd name="connsiteX106" fmla="*/ 7335763 w 7831667"/>
              <a:gd name="connsiteY106" fmla="*/ 487747 h 1547290"/>
              <a:gd name="connsiteX107" fmla="*/ 7577667 w 7831667"/>
              <a:gd name="connsiteY107" fmla="*/ 709090 h 1547290"/>
              <a:gd name="connsiteX108" fmla="*/ 7586134 w 7831667"/>
              <a:gd name="connsiteY108" fmla="*/ 751423 h 1547290"/>
              <a:gd name="connsiteX109" fmla="*/ 7628467 w 7831667"/>
              <a:gd name="connsiteY109" fmla="*/ 785290 h 1547290"/>
              <a:gd name="connsiteX110" fmla="*/ 7662334 w 7831667"/>
              <a:gd name="connsiteY110" fmla="*/ 802223 h 1547290"/>
              <a:gd name="connsiteX111" fmla="*/ 7696200 w 7831667"/>
              <a:gd name="connsiteY111" fmla="*/ 827623 h 1547290"/>
              <a:gd name="connsiteX112" fmla="*/ 7730067 w 7831667"/>
              <a:gd name="connsiteY112" fmla="*/ 836090 h 1547290"/>
              <a:gd name="connsiteX113" fmla="*/ 7763934 w 7831667"/>
              <a:gd name="connsiteY113" fmla="*/ 853023 h 1547290"/>
              <a:gd name="connsiteX114" fmla="*/ 7814734 w 7831667"/>
              <a:gd name="connsiteY114" fmla="*/ 903823 h 1547290"/>
              <a:gd name="connsiteX115" fmla="*/ 7831667 w 7831667"/>
              <a:gd name="connsiteY115" fmla="*/ 9292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730067 w 7853439"/>
              <a:gd name="connsiteY112" fmla="*/ 836090 h 1547290"/>
              <a:gd name="connsiteX113" fmla="*/ 7763934 w 7853439"/>
              <a:gd name="connsiteY113" fmla="*/ 853023 h 1547290"/>
              <a:gd name="connsiteX114" fmla="*/ 7814734 w 7853439"/>
              <a:gd name="connsiteY114" fmla="*/ 903823 h 1547290"/>
              <a:gd name="connsiteX115" fmla="*/ 7853439 w 7853439"/>
              <a:gd name="connsiteY115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730067 w 7853439"/>
              <a:gd name="connsiteY112" fmla="*/ 836090 h 1547290"/>
              <a:gd name="connsiteX113" fmla="*/ 7763934 w 7853439"/>
              <a:gd name="connsiteY113" fmla="*/ 853023 h 1547290"/>
              <a:gd name="connsiteX114" fmla="*/ 7853439 w 7853439"/>
              <a:gd name="connsiteY114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730067 w 7853439"/>
              <a:gd name="connsiteY112" fmla="*/ 836090 h 1547290"/>
              <a:gd name="connsiteX113" fmla="*/ 7853439 w 7853439"/>
              <a:gd name="connsiteY113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853439 w 7853439"/>
              <a:gd name="connsiteY112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62334 w 7853439"/>
              <a:gd name="connsiteY109" fmla="*/ 802223 h 1547290"/>
              <a:gd name="connsiteX110" fmla="*/ 7696200 w 7853439"/>
              <a:gd name="connsiteY110" fmla="*/ 827623 h 1547290"/>
              <a:gd name="connsiteX111" fmla="*/ 7853439 w 7853439"/>
              <a:gd name="connsiteY111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662334 w 7853439"/>
              <a:gd name="connsiteY108" fmla="*/ 802223 h 1547290"/>
              <a:gd name="connsiteX109" fmla="*/ 7696200 w 7853439"/>
              <a:gd name="connsiteY109" fmla="*/ 827623 h 1547290"/>
              <a:gd name="connsiteX110" fmla="*/ 7853439 w 7853439"/>
              <a:gd name="connsiteY110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46186 w 7853439"/>
              <a:gd name="connsiteY66" fmla="*/ 1064085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662334 w 7853439"/>
              <a:gd name="connsiteY108" fmla="*/ 802223 h 1547290"/>
              <a:gd name="connsiteX109" fmla="*/ 7696200 w 7853439"/>
              <a:gd name="connsiteY109" fmla="*/ 827623 h 1547290"/>
              <a:gd name="connsiteX110" fmla="*/ 7853439 w 7853439"/>
              <a:gd name="connsiteY110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46186 w 7853439"/>
              <a:gd name="connsiteY66" fmla="*/ 1064085 h 1547290"/>
              <a:gd name="connsiteX67" fmla="*/ 3104849 w 7853439"/>
              <a:gd name="connsiteY67" fmla="*/ 1108233 h 1547290"/>
              <a:gd name="connsiteX68" fmla="*/ 3179839 w 7853439"/>
              <a:gd name="connsiteY68" fmla="*/ 1126376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662334 w 7853439"/>
              <a:gd name="connsiteY108" fmla="*/ 802223 h 1547290"/>
              <a:gd name="connsiteX109" fmla="*/ 7696200 w 7853439"/>
              <a:gd name="connsiteY109" fmla="*/ 827623 h 1547290"/>
              <a:gd name="connsiteX110" fmla="*/ 7853439 w 7853439"/>
              <a:gd name="connsiteY110" fmla="*/ 1005423 h 1547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7853439" h="1547290">
                <a:moveTo>
                  <a:pt x="0" y="1132423"/>
                </a:moveTo>
                <a:cubicBezTo>
                  <a:pt x="2822" y="1146534"/>
                  <a:pt x="485" y="1162782"/>
                  <a:pt x="8467" y="1174756"/>
                </a:cubicBezTo>
                <a:cubicBezTo>
                  <a:pt x="13418" y="1182182"/>
                  <a:pt x="25664" y="1179707"/>
                  <a:pt x="33867" y="1183223"/>
                </a:cubicBezTo>
                <a:cubicBezTo>
                  <a:pt x="45468" y="1188195"/>
                  <a:pt x="56445" y="1194512"/>
                  <a:pt x="67734" y="1200156"/>
                </a:cubicBezTo>
                <a:cubicBezTo>
                  <a:pt x="73378" y="1205801"/>
                  <a:pt x="77822" y="1212983"/>
                  <a:pt x="84667" y="1217090"/>
                </a:cubicBezTo>
                <a:cubicBezTo>
                  <a:pt x="139224" y="1249824"/>
                  <a:pt x="80404" y="1196603"/>
                  <a:pt x="135467" y="1242490"/>
                </a:cubicBezTo>
                <a:cubicBezTo>
                  <a:pt x="144665" y="1250155"/>
                  <a:pt x="151124" y="1260931"/>
                  <a:pt x="160867" y="1267890"/>
                </a:cubicBezTo>
                <a:cubicBezTo>
                  <a:pt x="171138" y="1275226"/>
                  <a:pt x="183701" y="1278694"/>
                  <a:pt x="194734" y="1284823"/>
                </a:cubicBezTo>
                <a:cubicBezTo>
                  <a:pt x="209119" y="1292815"/>
                  <a:pt x="223112" y="1301501"/>
                  <a:pt x="237067" y="1310223"/>
                </a:cubicBezTo>
                <a:cubicBezTo>
                  <a:pt x="245696" y="1315616"/>
                  <a:pt x="253168" y="1323023"/>
                  <a:pt x="262467" y="1327156"/>
                </a:cubicBezTo>
                <a:cubicBezTo>
                  <a:pt x="278778" y="1334405"/>
                  <a:pt x="296334" y="1338445"/>
                  <a:pt x="313267" y="1344090"/>
                </a:cubicBezTo>
                <a:cubicBezTo>
                  <a:pt x="317816" y="1347502"/>
                  <a:pt x="362404" y="1381921"/>
                  <a:pt x="372534" y="1386423"/>
                </a:cubicBezTo>
                <a:cubicBezTo>
                  <a:pt x="388845" y="1393672"/>
                  <a:pt x="406401" y="1397712"/>
                  <a:pt x="423334" y="1403356"/>
                </a:cubicBezTo>
                <a:lnTo>
                  <a:pt x="448734" y="1411823"/>
                </a:lnTo>
                <a:cubicBezTo>
                  <a:pt x="462745" y="1422331"/>
                  <a:pt x="522976" y="1468484"/>
                  <a:pt x="533400" y="1471090"/>
                </a:cubicBezTo>
                <a:cubicBezTo>
                  <a:pt x="544689" y="1473912"/>
                  <a:pt x="556078" y="1476359"/>
                  <a:pt x="567267" y="1479556"/>
                </a:cubicBezTo>
                <a:cubicBezTo>
                  <a:pt x="575848" y="1482008"/>
                  <a:pt x="583971" y="1486016"/>
                  <a:pt x="592667" y="1488023"/>
                </a:cubicBezTo>
                <a:cubicBezTo>
                  <a:pt x="620711" y="1494495"/>
                  <a:pt x="650030" y="1495854"/>
                  <a:pt x="677334" y="1504956"/>
                </a:cubicBezTo>
                <a:cubicBezTo>
                  <a:pt x="705615" y="1514383"/>
                  <a:pt x="704713" y="1514804"/>
                  <a:pt x="736600" y="1521890"/>
                </a:cubicBezTo>
                <a:cubicBezTo>
                  <a:pt x="750648" y="1525012"/>
                  <a:pt x="764886" y="1527234"/>
                  <a:pt x="778934" y="1530356"/>
                </a:cubicBezTo>
                <a:cubicBezTo>
                  <a:pt x="886611" y="1554284"/>
                  <a:pt x="727372" y="1521737"/>
                  <a:pt x="855134" y="1547290"/>
                </a:cubicBezTo>
                <a:cubicBezTo>
                  <a:pt x="928512" y="1544468"/>
                  <a:pt x="1001998" y="1543708"/>
                  <a:pt x="1075267" y="1538823"/>
                </a:cubicBezTo>
                <a:cubicBezTo>
                  <a:pt x="1092522" y="1537673"/>
                  <a:pt x="1117475" y="1526764"/>
                  <a:pt x="1134534" y="1521890"/>
                </a:cubicBezTo>
                <a:cubicBezTo>
                  <a:pt x="1162441" y="1513917"/>
                  <a:pt x="1181626" y="1510778"/>
                  <a:pt x="1210734" y="1504956"/>
                </a:cubicBezTo>
                <a:cubicBezTo>
                  <a:pt x="1222023" y="1499312"/>
                  <a:pt x="1232782" y="1492455"/>
                  <a:pt x="1244600" y="1488023"/>
                </a:cubicBezTo>
                <a:cubicBezTo>
                  <a:pt x="1255496" y="1483937"/>
                  <a:pt x="1267771" y="1484140"/>
                  <a:pt x="1278467" y="1479556"/>
                </a:cubicBezTo>
                <a:cubicBezTo>
                  <a:pt x="1287820" y="1475548"/>
                  <a:pt x="1294514" y="1466631"/>
                  <a:pt x="1303867" y="1462623"/>
                </a:cubicBezTo>
                <a:cubicBezTo>
                  <a:pt x="1314563" y="1458039"/>
                  <a:pt x="1326695" y="1457836"/>
                  <a:pt x="1337734" y="1454156"/>
                </a:cubicBezTo>
                <a:cubicBezTo>
                  <a:pt x="1352152" y="1449350"/>
                  <a:pt x="1365649" y="1442029"/>
                  <a:pt x="1380067" y="1437223"/>
                </a:cubicBezTo>
                <a:cubicBezTo>
                  <a:pt x="1391106" y="1433543"/>
                  <a:pt x="1403038" y="1432842"/>
                  <a:pt x="1413934" y="1428756"/>
                </a:cubicBezTo>
                <a:cubicBezTo>
                  <a:pt x="1502483" y="1395550"/>
                  <a:pt x="1394735" y="1425090"/>
                  <a:pt x="1481667" y="1403356"/>
                </a:cubicBezTo>
                <a:cubicBezTo>
                  <a:pt x="1533141" y="1369041"/>
                  <a:pt x="1478450" y="1401388"/>
                  <a:pt x="1540934" y="1377956"/>
                </a:cubicBezTo>
                <a:cubicBezTo>
                  <a:pt x="1552752" y="1373524"/>
                  <a:pt x="1563199" y="1365995"/>
                  <a:pt x="1574800" y="1361023"/>
                </a:cubicBezTo>
                <a:cubicBezTo>
                  <a:pt x="1583003" y="1357507"/>
                  <a:pt x="1591733" y="1355378"/>
                  <a:pt x="1600200" y="1352556"/>
                </a:cubicBezTo>
                <a:cubicBezTo>
                  <a:pt x="1608667" y="1344089"/>
                  <a:pt x="1617935" y="1336354"/>
                  <a:pt x="1625600" y="1327156"/>
                </a:cubicBezTo>
                <a:cubicBezTo>
                  <a:pt x="1632114" y="1319339"/>
                  <a:pt x="1636619" y="1310036"/>
                  <a:pt x="1642534" y="1301756"/>
                </a:cubicBezTo>
                <a:cubicBezTo>
                  <a:pt x="1650736" y="1290274"/>
                  <a:pt x="1659732" y="1279373"/>
                  <a:pt x="1667934" y="1267890"/>
                </a:cubicBezTo>
                <a:cubicBezTo>
                  <a:pt x="1673848" y="1259610"/>
                  <a:pt x="1677672" y="1249685"/>
                  <a:pt x="1684867" y="1242490"/>
                </a:cubicBezTo>
                <a:cubicBezTo>
                  <a:pt x="1694845" y="1232512"/>
                  <a:pt x="1707445" y="1225557"/>
                  <a:pt x="1718734" y="1217090"/>
                </a:cubicBezTo>
                <a:cubicBezTo>
                  <a:pt x="1747282" y="1174268"/>
                  <a:pt x="1722274" y="1205674"/>
                  <a:pt x="1769534" y="1166290"/>
                </a:cubicBezTo>
                <a:cubicBezTo>
                  <a:pt x="1800527" y="1140462"/>
                  <a:pt x="1770230" y="1154768"/>
                  <a:pt x="1811867" y="1140890"/>
                </a:cubicBezTo>
                <a:cubicBezTo>
                  <a:pt x="1823156" y="1132423"/>
                  <a:pt x="1833768" y="1122969"/>
                  <a:pt x="1845734" y="1115490"/>
                </a:cubicBezTo>
                <a:cubicBezTo>
                  <a:pt x="1856437" y="1108801"/>
                  <a:pt x="1869904" y="1106636"/>
                  <a:pt x="1879600" y="1098556"/>
                </a:cubicBezTo>
                <a:cubicBezTo>
                  <a:pt x="1887417" y="1092042"/>
                  <a:pt x="1889774" y="1080761"/>
                  <a:pt x="1896534" y="1073156"/>
                </a:cubicBezTo>
                <a:cubicBezTo>
                  <a:pt x="1912444" y="1055258"/>
                  <a:pt x="1927408" y="1035639"/>
                  <a:pt x="1947334" y="1022356"/>
                </a:cubicBezTo>
                <a:cubicBezTo>
                  <a:pt x="1955801" y="1016712"/>
                  <a:pt x="1964917" y="1011937"/>
                  <a:pt x="1972734" y="1005423"/>
                </a:cubicBezTo>
                <a:cubicBezTo>
                  <a:pt x="1981932" y="997758"/>
                  <a:pt x="1989043" y="987815"/>
                  <a:pt x="1998134" y="980023"/>
                </a:cubicBezTo>
                <a:cubicBezTo>
                  <a:pt x="2003506" y="975418"/>
                  <a:pt x="2046676" y="943052"/>
                  <a:pt x="2057400" y="937690"/>
                </a:cubicBezTo>
                <a:cubicBezTo>
                  <a:pt x="2077656" y="927562"/>
                  <a:pt x="2103146" y="919619"/>
                  <a:pt x="2125134" y="912290"/>
                </a:cubicBezTo>
                <a:cubicBezTo>
                  <a:pt x="2136423" y="903823"/>
                  <a:pt x="2146379" y="893201"/>
                  <a:pt x="2159000" y="886890"/>
                </a:cubicBezTo>
                <a:cubicBezTo>
                  <a:pt x="2174965" y="878907"/>
                  <a:pt x="2193835" y="877938"/>
                  <a:pt x="2209800" y="869956"/>
                </a:cubicBezTo>
                <a:lnTo>
                  <a:pt x="2243667" y="853023"/>
                </a:lnTo>
                <a:cubicBezTo>
                  <a:pt x="2274711" y="855845"/>
                  <a:pt x="2306426" y="854481"/>
                  <a:pt x="2336800" y="861490"/>
                </a:cubicBezTo>
                <a:cubicBezTo>
                  <a:pt x="2344578" y="863285"/>
                  <a:pt x="2346594" y="874853"/>
                  <a:pt x="2353734" y="878423"/>
                </a:cubicBezTo>
                <a:cubicBezTo>
                  <a:pt x="2369699" y="886405"/>
                  <a:pt x="2404534" y="895356"/>
                  <a:pt x="2404534" y="895356"/>
                </a:cubicBezTo>
                <a:cubicBezTo>
                  <a:pt x="2449689" y="892534"/>
                  <a:pt x="2494960" y="891179"/>
                  <a:pt x="2540000" y="886890"/>
                </a:cubicBezTo>
                <a:cubicBezTo>
                  <a:pt x="2554326" y="885526"/>
                  <a:pt x="2567943" y="878423"/>
                  <a:pt x="2582334" y="878423"/>
                </a:cubicBezTo>
                <a:cubicBezTo>
                  <a:pt x="2593970" y="878423"/>
                  <a:pt x="2605161" y="883210"/>
                  <a:pt x="2616200" y="886890"/>
                </a:cubicBezTo>
                <a:cubicBezTo>
                  <a:pt x="2630618" y="891696"/>
                  <a:pt x="2644303" y="898487"/>
                  <a:pt x="2658534" y="903823"/>
                </a:cubicBezTo>
                <a:cubicBezTo>
                  <a:pt x="2666890" y="906957"/>
                  <a:pt x="2675952" y="908299"/>
                  <a:pt x="2683934" y="912290"/>
                </a:cubicBezTo>
                <a:cubicBezTo>
                  <a:pt x="2749586" y="945116"/>
                  <a:pt x="2670890" y="916408"/>
                  <a:pt x="2734734" y="937690"/>
                </a:cubicBezTo>
                <a:cubicBezTo>
                  <a:pt x="2740378" y="946157"/>
                  <a:pt x="2744472" y="955895"/>
                  <a:pt x="2751667" y="963090"/>
                </a:cubicBezTo>
                <a:cubicBezTo>
                  <a:pt x="2776918" y="988341"/>
                  <a:pt x="2791379" y="980382"/>
                  <a:pt x="2827867" y="988490"/>
                </a:cubicBezTo>
                <a:cubicBezTo>
                  <a:pt x="2836579" y="990426"/>
                  <a:pt x="2844486" y="995360"/>
                  <a:pt x="2853267" y="996956"/>
                </a:cubicBezTo>
                <a:cubicBezTo>
                  <a:pt x="2875653" y="1001026"/>
                  <a:pt x="2898446" y="1002416"/>
                  <a:pt x="2921000" y="1005423"/>
                </a:cubicBezTo>
                <a:lnTo>
                  <a:pt x="2980267" y="1013890"/>
                </a:lnTo>
                <a:cubicBezTo>
                  <a:pt x="3045046" y="1046278"/>
                  <a:pt x="3025422" y="1048361"/>
                  <a:pt x="3046186" y="1064085"/>
                </a:cubicBezTo>
                <a:cubicBezTo>
                  <a:pt x="3066950" y="1079809"/>
                  <a:pt x="3082573" y="1097851"/>
                  <a:pt x="3104849" y="1108233"/>
                </a:cubicBezTo>
                <a:cubicBezTo>
                  <a:pt x="3127125" y="1118615"/>
                  <a:pt x="3148392" y="1122344"/>
                  <a:pt x="3179839" y="1126376"/>
                </a:cubicBezTo>
                <a:cubicBezTo>
                  <a:pt x="3211287" y="1130408"/>
                  <a:pt x="3267529" y="1128593"/>
                  <a:pt x="3293534" y="1132423"/>
                </a:cubicBezTo>
                <a:cubicBezTo>
                  <a:pt x="3319539" y="1136253"/>
                  <a:pt x="3320900" y="1146715"/>
                  <a:pt x="3335867" y="1149356"/>
                </a:cubicBezTo>
                <a:cubicBezTo>
                  <a:pt x="3369334" y="1155262"/>
                  <a:pt x="3403652" y="1154441"/>
                  <a:pt x="3437467" y="1157823"/>
                </a:cubicBezTo>
                <a:cubicBezTo>
                  <a:pt x="3460107" y="1160087"/>
                  <a:pt x="3482711" y="1162830"/>
                  <a:pt x="3505200" y="1166290"/>
                </a:cubicBezTo>
                <a:cubicBezTo>
                  <a:pt x="3519423" y="1168478"/>
                  <a:pt x="3533375" y="1172182"/>
                  <a:pt x="3547534" y="1174756"/>
                </a:cubicBezTo>
                <a:cubicBezTo>
                  <a:pt x="3564424" y="1177827"/>
                  <a:pt x="3581401" y="1180401"/>
                  <a:pt x="3598334" y="1183223"/>
                </a:cubicBezTo>
                <a:cubicBezTo>
                  <a:pt x="3612445" y="1191690"/>
                  <a:pt x="3625948" y="1201264"/>
                  <a:pt x="3640667" y="1208623"/>
                </a:cubicBezTo>
                <a:cubicBezTo>
                  <a:pt x="3648649" y="1212614"/>
                  <a:pt x="3657371" y="1215083"/>
                  <a:pt x="3666067" y="1217090"/>
                </a:cubicBezTo>
                <a:cubicBezTo>
                  <a:pt x="3694111" y="1223562"/>
                  <a:pt x="3723430" y="1224922"/>
                  <a:pt x="3750734" y="1234023"/>
                </a:cubicBezTo>
                <a:lnTo>
                  <a:pt x="3801534" y="1250956"/>
                </a:lnTo>
                <a:cubicBezTo>
                  <a:pt x="3893926" y="1281753"/>
                  <a:pt x="3817984" y="1259065"/>
                  <a:pt x="4038600" y="1267890"/>
                </a:cubicBezTo>
                <a:cubicBezTo>
                  <a:pt x="4052711" y="1270712"/>
                  <a:pt x="4066886" y="1273234"/>
                  <a:pt x="4080934" y="1276356"/>
                </a:cubicBezTo>
                <a:cubicBezTo>
                  <a:pt x="4092293" y="1278880"/>
                  <a:pt x="4103164" y="1284823"/>
                  <a:pt x="4114800" y="1284823"/>
                </a:cubicBezTo>
                <a:cubicBezTo>
                  <a:pt x="4188232" y="1284823"/>
                  <a:pt x="4261556" y="1279178"/>
                  <a:pt x="4334934" y="1276356"/>
                </a:cubicBezTo>
                <a:cubicBezTo>
                  <a:pt x="4351867" y="1273534"/>
                  <a:pt x="4368740" y="1270318"/>
                  <a:pt x="4385734" y="1267890"/>
                </a:cubicBezTo>
                <a:cubicBezTo>
                  <a:pt x="4408259" y="1264672"/>
                  <a:pt x="4431515" y="1265410"/>
                  <a:pt x="4453467" y="1259423"/>
                </a:cubicBezTo>
                <a:cubicBezTo>
                  <a:pt x="4463284" y="1256746"/>
                  <a:pt x="4471207" y="1256702"/>
                  <a:pt x="4478867" y="1242490"/>
                </a:cubicBezTo>
                <a:cubicBezTo>
                  <a:pt x="4486527" y="1228278"/>
                  <a:pt x="4458507" y="1201568"/>
                  <a:pt x="4499429" y="1174152"/>
                </a:cubicBezTo>
                <a:cubicBezTo>
                  <a:pt x="4540351" y="1146736"/>
                  <a:pt x="4642656" y="1127283"/>
                  <a:pt x="4724400" y="1077995"/>
                </a:cubicBezTo>
                <a:cubicBezTo>
                  <a:pt x="4806144" y="1028707"/>
                  <a:pt x="4936269" y="910274"/>
                  <a:pt x="4989891" y="878423"/>
                </a:cubicBezTo>
                <a:cubicBezTo>
                  <a:pt x="5043513" y="846572"/>
                  <a:pt x="5028294" y="896768"/>
                  <a:pt x="5046134" y="886890"/>
                </a:cubicBezTo>
                <a:cubicBezTo>
                  <a:pt x="5063974" y="877012"/>
                  <a:pt x="5082414" y="843356"/>
                  <a:pt x="5096934" y="819156"/>
                </a:cubicBezTo>
                <a:cubicBezTo>
                  <a:pt x="5105401" y="805045"/>
                  <a:pt x="5111913" y="789559"/>
                  <a:pt x="5122334" y="776823"/>
                </a:cubicBezTo>
                <a:cubicBezTo>
                  <a:pt x="5137498" y="758289"/>
                  <a:pt x="5173134" y="726023"/>
                  <a:pt x="5173134" y="726023"/>
                </a:cubicBezTo>
                <a:cubicBezTo>
                  <a:pt x="5235186" y="570891"/>
                  <a:pt x="5157180" y="749790"/>
                  <a:pt x="5207000" y="666756"/>
                </a:cubicBezTo>
                <a:cubicBezTo>
                  <a:pt x="5298617" y="514060"/>
                  <a:pt x="5196966" y="659658"/>
                  <a:pt x="5266267" y="565156"/>
                </a:cubicBezTo>
                <a:cubicBezTo>
                  <a:pt x="5351056" y="449535"/>
                  <a:pt x="5405564" y="304051"/>
                  <a:pt x="5520267" y="218023"/>
                </a:cubicBezTo>
                <a:lnTo>
                  <a:pt x="5617634" y="78323"/>
                </a:lnTo>
                <a:cubicBezTo>
                  <a:pt x="5625697" y="63506"/>
                  <a:pt x="5634265" y="64917"/>
                  <a:pt x="5670248" y="52923"/>
                </a:cubicBezTo>
                <a:cubicBezTo>
                  <a:pt x="5706231" y="40929"/>
                  <a:pt x="5786564" y="12706"/>
                  <a:pt x="5833534" y="6356"/>
                </a:cubicBezTo>
                <a:cubicBezTo>
                  <a:pt x="5880504" y="6"/>
                  <a:pt x="5910641" y="-7049"/>
                  <a:pt x="5952067" y="14823"/>
                </a:cubicBezTo>
                <a:cubicBezTo>
                  <a:pt x="5993493" y="36695"/>
                  <a:pt x="5983313" y="59475"/>
                  <a:pt x="6082091" y="137590"/>
                </a:cubicBezTo>
                <a:cubicBezTo>
                  <a:pt x="6180869" y="215705"/>
                  <a:pt x="6413501" y="388868"/>
                  <a:pt x="6544734" y="483513"/>
                </a:cubicBezTo>
                <a:cubicBezTo>
                  <a:pt x="6675967" y="578158"/>
                  <a:pt x="6794702" y="686512"/>
                  <a:pt x="6869491" y="705461"/>
                </a:cubicBezTo>
                <a:cubicBezTo>
                  <a:pt x="6944280" y="724410"/>
                  <a:pt x="6979356" y="591565"/>
                  <a:pt x="6993467" y="597209"/>
                </a:cubicBezTo>
                <a:cubicBezTo>
                  <a:pt x="7055556" y="591565"/>
                  <a:pt x="7070776" y="537539"/>
                  <a:pt x="7103534" y="531290"/>
                </a:cubicBezTo>
                <a:cubicBezTo>
                  <a:pt x="7136292" y="525041"/>
                  <a:pt x="7151310" y="566970"/>
                  <a:pt x="7190015" y="559713"/>
                </a:cubicBezTo>
                <a:cubicBezTo>
                  <a:pt x="7228720" y="552456"/>
                  <a:pt x="7242928" y="506312"/>
                  <a:pt x="7335763" y="487747"/>
                </a:cubicBezTo>
                <a:cubicBezTo>
                  <a:pt x="7400372" y="512643"/>
                  <a:pt x="7523239" y="656677"/>
                  <a:pt x="7577667" y="709090"/>
                </a:cubicBezTo>
                <a:cubicBezTo>
                  <a:pt x="7632096" y="761503"/>
                  <a:pt x="7642579" y="782468"/>
                  <a:pt x="7662334" y="802223"/>
                </a:cubicBezTo>
                <a:cubicBezTo>
                  <a:pt x="7682089" y="821978"/>
                  <a:pt x="7664349" y="793756"/>
                  <a:pt x="7696200" y="827623"/>
                </a:cubicBezTo>
                <a:cubicBezTo>
                  <a:pt x="7728051" y="861490"/>
                  <a:pt x="7820681" y="968381"/>
                  <a:pt x="7853439" y="1005423"/>
                </a:cubicBezTo>
              </a:path>
            </a:pathLst>
          </a:cu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63FF34D-71C6-4E7A-BD77-6B88484A050B}"/>
              </a:ext>
            </a:extLst>
          </p:cNvPr>
          <p:cNvCxnSpPr>
            <a:cxnSpLocks/>
          </p:cNvCxnSpPr>
          <p:nvPr/>
        </p:nvCxnSpPr>
        <p:spPr>
          <a:xfrm flipV="1">
            <a:off x="1961193" y="2373086"/>
            <a:ext cx="0" cy="320340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Chart&#10;&#10;Description automatically generated">
            <a:extLst>
              <a:ext uri="{FF2B5EF4-FFF2-40B4-BE49-F238E27FC236}">
                <a16:creationId xmlns:a16="http://schemas.microsoft.com/office/drawing/2014/main" id="{B5A2587C-01D0-4DDB-8EC2-2EA77BD0CF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9" t="84423" r="7396" b="5944"/>
          <a:stretch/>
        </p:blipFill>
        <p:spPr>
          <a:xfrm>
            <a:off x="1426001" y="5533292"/>
            <a:ext cx="8686800" cy="544534"/>
          </a:xfrm>
          <a:prstGeom prst="rect">
            <a:avLst/>
          </a:prstGeom>
        </p:spPr>
      </p:pic>
      <p:pic>
        <p:nvPicPr>
          <p:cNvPr id="23" name="Picture 2" descr="See the source image">
            <a:extLst>
              <a:ext uri="{FF2B5EF4-FFF2-40B4-BE49-F238E27FC236}">
                <a16:creationId xmlns:a16="http://schemas.microsoft.com/office/drawing/2014/main" id="{E27B73A8-C906-4BB4-91D1-5A8464D102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81"/>
          <a:stretch/>
        </p:blipFill>
        <p:spPr bwMode="auto">
          <a:xfrm>
            <a:off x="1219200" y="3808448"/>
            <a:ext cx="9546796" cy="206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See the source image">
            <a:extLst>
              <a:ext uri="{FF2B5EF4-FFF2-40B4-BE49-F238E27FC236}">
                <a16:creationId xmlns:a16="http://schemas.microsoft.com/office/drawing/2014/main" id="{6E7946FE-3A5C-420C-9309-D62FC493DE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602"/>
          <a:stretch/>
        </p:blipFill>
        <p:spPr bwMode="auto">
          <a:xfrm>
            <a:off x="1669447" y="5872855"/>
            <a:ext cx="9753600" cy="77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C60DAA7-FF90-4D11-B87E-B56989EEB86F}"/>
              </a:ext>
            </a:extLst>
          </p:cNvPr>
          <p:cNvSpPr txBox="1"/>
          <p:nvPr/>
        </p:nvSpPr>
        <p:spPr>
          <a:xfrm>
            <a:off x="9433907" y="2809977"/>
            <a:ext cx="472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/>
              <a:t>Consommation sans V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7A8E694-B560-4344-898F-CF7592CF34E1}"/>
              </a:ext>
            </a:extLst>
          </p:cNvPr>
          <p:cNvCxnSpPr>
            <a:cxnSpLocks/>
          </p:cNvCxnSpPr>
          <p:nvPr/>
        </p:nvCxnSpPr>
        <p:spPr>
          <a:xfrm>
            <a:off x="9188374" y="2948475"/>
            <a:ext cx="245533" cy="0"/>
          </a:xfrm>
          <a:prstGeom prst="line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8E6B6C2-14F5-4850-92D5-4FB1534B73C2}"/>
              </a:ext>
            </a:extLst>
          </p:cNvPr>
          <p:cNvSpPr txBox="1"/>
          <p:nvPr/>
        </p:nvSpPr>
        <p:spPr>
          <a:xfrm>
            <a:off x="9433907" y="3071448"/>
            <a:ext cx="472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/>
              <a:t>Consommation avec V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8826D33-A1E8-4915-A458-14A67510BC7A}"/>
              </a:ext>
            </a:extLst>
          </p:cNvPr>
          <p:cNvCxnSpPr>
            <a:cxnSpLocks/>
          </p:cNvCxnSpPr>
          <p:nvPr/>
        </p:nvCxnSpPr>
        <p:spPr>
          <a:xfrm>
            <a:off x="9188374" y="3209946"/>
            <a:ext cx="245533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F0B01C5-4C87-487A-A765-86BCC86450F3}"/>
              </a:ext>
            </a:extLst>
          </p:cNvPr>
          <p:cNvSpPr txBox="1"/>
          <p:nvPr/>
        </p:nvSpPr>
        <p:spPr>
          <a:xfrm>
            <a:off x="694798" y="4047544"/>
            <a:ext cx="3026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llustration</a:t>
            </a:r>
          </a:p>
        </p:txBody>
      </p:sp>
    </p:spTree>
    <p:extLst>
      <p:ext uri="{BB962C8B-B14F-4D97-AF65-F5344CB8AC3E}">
        <p14:creationId xmlns:p14="http://schemas.microsoft.com/office/powerpoint/2010/main" val="64803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F490F2F-5B23-4316-8DD7-A5425EFAC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2. Chercher à identifier les zones où la vitesse de la transition énergétique sera la plus rap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13413B5-84B5-4DC8-959D-4454584DA9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3600" y="1679575"/>
            <a:ext cx="10752138" cy="460375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BE" dirty="0">
                <a:ea typeface="+mn-lt"/>
                <a:cs typeface="+mn-lt"/>
              </a:rPr>
              <a:t>Des études académiques </a:t>
            </a:r>
            <a:r>
              <a:rPr lang="fr-BE" baseline="30000" dirty="0">
                <a:ea typeface="+mn-lt"/>
                <a:cs typeface="+mn-lt"/>
              </a:rPr>
              <a:t>(*)</a:t>
            </a:r>
            <a:r>
              <a:rPr lang="fr-BE" dirty="0">
                <a:ea typeface="+mn-lt"/>
                <a:cs typeface="+mn-lt"/>
              </a:rPr>
              <a:t> montrent que la vitesse de progression des nouvelles technologies et des marchés est fonction du profil socio-économique des clients, </a:t>
            </a:r>
            <a:endParaRPr lang="fr-BE" dirty="0">
              <a:cs typeface="Calibri" panose="020F0502020204030204"/>
            </a:endParaRPr>
          </a:p>
          <a:p>
            <a:pPr lvl="1"/>
            <a:r>
              <a:rPr lang="fr-BE" dirty="0">
                <a:ea typeface="+mn-lt"/>
                <a:cs typeface="+mn-lt"/>
              </a:rPr>
              <a:t>En commençant par les profils les plus aisés (c-à-d les personnes de la médiane supérieure des revenus). </a:t>
            </a:r>
            <a:endParaRPr lang="fr-BE" dirty="0">
              <a:cs typeface="Calibri"/>
            </a:endParaRPr>
          </a:p>
          <a:p>
            <a:pPr lvl="1"/>
            <a:r>
              <a:rPr lang="fr-BE" dirty="0">
                <a:ea typeface="+mn-lt"/>
                <a:cs typeface="+mn-lt"/>
              </a:rPr>
              <a:t>Ensuite vers les autres profils. </a:t>
            </a:r>
            <a:endParaRPr lang="fr-BE" dirty="0">
              <a:cs typeface="Calibri"/>
            </a:endParaRPr>
          </a:p>
          <a:p>
            <a:endParaRPr lang="fr-BE" dirty="0">
              <a:cs typeface="Calibri"/>
            </a:endParaRPr>
          </a:p>
        </p:txBody>
      </p:sp>
      <p:pic>
        <p:nvPicPr>
          <p:cNvPr id="5" name="Picture 4" descr="Shape, arrow&#10;&#10;Description automatically generated">
            <a:extLst>
              <a:ext uri="{FF2B5EF4-FFF2-40B4-BE49-F238E27FC236}">
                <a16:creationId xmlns:a16="http://schemas.microsoft.com/office/drawing/2014/main" id="{063E98BA-201F-4AB1-ADCC-4865AA8FC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3529" y="4478773"/>
            <a:ext cx="1400175" cy="8858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EB4C5D-9F2C-4A59-A654-942218422748}"/>
              </a:ext>
            </a:extLst>
          </p:cNvPr>
          <p:cNvSpPr txBox="1"/>
          <p:nvPr/>
        </p:nvSpPr>
        <p:spPr>
          <a:xfrm>
            <a:off x="3695178" y="4386719"/>
            <a:ext cx="8235861" cy="12926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BE" sz="2000">
                <a:latin typeface="Arial"/>
                <a:ea typeface="+mn-lt"/>
                <a:cs typeface="+mn-lt"/>
              </a:rPr>
              <a:t>Approche géographique des profils socio-économiques pour faire le lien avec le réseau</a:t>
            </a:r>
            <a:endParaRPr lang="fr-BE" sz="2000">
              <a:latin typeface="Arial"/>
              <a:cs typeface="Arial"/>
            </a:endParaRPr>
          </a:p>
          <a:p>
            <a:r>
              <a:rPr lang="fr-BE" sz="2000">
                <a:latin typeface="Arial"/>
                <a:ea typeface="+mn-lt"/>
                <a:cs typeface="+mn-lt"/>
              </a:rPr>
              <a:t> =&gt; analyse avec UCLouvain (regroupement des secteurs statistiques)</a:t>
            </a:r>
            <a:endParaRPr lang="fr-BE" sz="2000">
              <a:latin typeface="Arial"/>
              <a:cs typeface="Arial"/>
            </a:endParaRPr>
          </a:p>
          <a:p>
            <a:pPr algn="l"/>
            <a:endParaRPr lang="fr-BE">
              <a:latin typeface="Arial"/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729DC5-289A-48E5-9F84-3B08D5911946}"/>
              </a:ext>
            </a:extLst>
          </p:cNvPr>
          <p:cNvSpPr txBox="1"/>
          <p:nvPr/>
        </p:nvSpPr>
        <p:spPr>
          <a:xfrm>
            <a:off x="131523" y="5924811"/>
            <a:ext cx="11814131" cy="86177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BE" sz="1000">
                <a:latin typeface="Arial"/>
                <a:cs typeface="Times New Roman"/>
              </a:rPr>
              <a:t>(*) références </a:t>
            </a:r>
          </a:p>
          <a:p>
            <a:pPr marL="171450" indent="-171450">
              <a:buFont typeface="Arial"/>
              <a:buChar char="•"/>
            </a:pPr>
            <a:r>
              <a:rPr lang="en-US" sz="1000" err="1">
                <a:solidFill>
                  <a:srgbClr val="222222"/>
                </a:solidFill>
                <a:latin typeface="Arial"/>
                <a:cs typeface="Arial"/>
              </a:rPr>
              <a:t>Sovacool</a:t>
            </a: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, B. K., </a:t>
            </a:r>
            <a:r>
              <a:rPr lang="en-US" sz="1000" err="1">
                <a:solidFill>
                  <a:srgbClr val="222222"/>
                </a:solidFill>
                <a:latin typeface="Arial"/>
                <a:cs typeface="Arial"/>
              </a:rPr>
              <a:t>Axsen</a:t>
            </a: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, J., &amp; Kempton, W. (2017). The future promise of vehicle-to-grid (V2G) integration: a sociotechnical review and research agenda. </a:t>
            </a:r>
            <a:r>
              <a:rPr lang="en-US" sz="1000" i="1">
                <a:solidFill>
                  <a:srgbClr val="222222"/>
                </a:solidFill>
                <a:latin typeface="Arial"/>
                <a:cs typeface="Arial"/>
              </a:rPr>
              <a:t>Annual Review of Environment and Resources</a:t>
            </a: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, </a:t>
            </a:r>
            <a:r>
              <a:rPr lang="en-US" sz="1000" i="1">
                <a:solidFill>
                  <a:srgbClr val="222222"/>
                </a:solidFill>
                <a:latin typeface="Arial"/>
                <a:cs typeface="Arial"/>
              </a:rPr>
              <a:t>42</a:t>
            </a: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, 377-406. </a:t>
            </a:r>
          </a:p>
          <a:p>
            <a:pPr marL="171450" indent="-171450">
              <a:buFont typeface="Arial"/>
              <a:buChar char="•"/>
            </a:pPr>
            <a:r>
              <a:rPr lang="nl-NL" sz="1000" err="1">
                <a:solidFill>
                  <a:srgbClr val="222222"/>
                </a:solidFill>
                <a:latin typeface="Arial"/>
                <a:cs typeface="Arial"/>
              </a:rPr>
              <a:t>Sierzchula</a:t>
            </a:r>
            <a:r>
              <a:rPr lang="nl-NL" sz="1000">
                <a:solidFill>
                  <a:srgbClr val="222222"/>
                </a:solidFill>
                <a:latin typeface="Arial"/>
                <a:cs typeface="Arial"/>
              </a:rPr>
              <a:t>, W., Bakker, S., Maat, K., &amp; Van Wee, B. (2014). </a:t>
            </a: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The influence of financial incentives and other socio-economic factors on electric vehicle adoption. </a:t>
            </a:r>
            <a:r>
              <a:rPr lang="en-US" sz="1000" i="1">
                <a:solidFill>
                  <a:srgbClr val="222222"/>
                </a:solidFill>
                <a:latin typeface="Arial"/>
                <a:cs typeface="Arial"/>
              </a:rPr>
              <a:t>Energy Policy</a:t>
            </a: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, </a:t>
            </a:r>
            <a:r>
              <a:rPr lang="en-US" sz="1000" i="1">
                <a:solidFill>
                  <a:srgbClr val="222222"/>
                </a:solidFill>
                <a:latin typeface="Arial"/>
                <a:cs typeface="Arial"/>
              </a:rPr>
              <a:t>68</a:t>
            </a: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, 183-194. </a:t>
            </a:r>
          </a:p>
          <a:p>
            <a:pPr marL="171450" indent="-171450">
              <a:buFont typeface="Arial"/>
              <a:buChar char="•"/>
            </a:pPr>
            <a:r>
              <a:rPr lang="en-US" sz="1000">
                <a:solidFill>
                  <a:srgbClr val="222222"/>
                </a:solidFill>
                <a:latin typeface="Arial"/>
                <a:cs typeface="Arial"/>
              </a:rPr>
              <a:t>Li, W., Long, R., Chen, H., &amp; Geng, J. (2017). A review of factors influencing consumer intentions to adopt battery electric vehicles. Renewable and Sustainable Energy Reviews, 78, 318-328.</a:t>
            </a:r>
          </a:p>
        </p:txBody>
      </p:sp>
    </p:spTree>
    <p:extLst>
      <p:ext uri="{BB962C8B-B14F-4D97-AF65-F5344CB8AC3E}">
        <p14:creationId xmlns:p14="http://schemas.microsoft.com/office/powerpoint/2010/main" val="40591533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270DE3B1-E73E-4553-8BC9-FE6873515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336550"/>
            <a:ext cx="10752138" cy="815975"/>
          </a:xfrm>
        </p:spPr>
        <p:txBody>
          <a:bodyPr/>
          <a:lstStyle/>
          <a:p>
            <a:r>
              <a:rPr lang="fr-BE" dirty="0"/>
              <a:t>2. Chercher à identifier les zones où la vitesse de la transition énergétique sera la plus rapid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6D22F0F-F0BE-4F9C-B08C-2BD976202780}"/>
              </a:ext>
            </a:extLst>
          </p:cNvPr>
          <p:cNvSpPr/>
          <p:nvPr/>
        </p:nvSpPr>
        <p:spPr>
          <a:xfrm>
            <a:off x="9521867" y="5038593"/>
            <a:ext cx="219206" cy="229644"/>
          </a:xfrm>
          <a:prstGeom prst="rect">
            <a:avLst/>
          </a:prstGeom>
          <a:solidFill>
            <a:srgbClr val="88ACC3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BBDF1D-B88A-4324-A719-F37CAADE5651}"/>
              </a:ext>
            </a:extLst>
          </p:cNvPr>
          <p:cNvSpPr/>
          <p:nvPr/>
        </p:nvSpPr>
        <p:spPr>
          <a:xfrm>
            <a:off x="9521867" y="3138813"/>
            <a:ext cx="219206" cy="22964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4D1FAD-8E8B-4E47-82AC-4C39A25143F4}"/>
              </a:ext>
            </a:extLst>
          </p:cNvPr>
          <p:cNvSpPr/>
          <p:nvPr/>
        </p:nvSpPr>
        <p:spPr>
          <a:xfrm>
            <a:off x="9521867" y="1907085"/>
            <a:ext cx="219206" cy="229644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2D5294-D5BD-428B-960E-3BC3E5A1B8D4}"/>
              </a:ext>
            </a:extLst>
          </p:cNvPr>
          <p:cNvSpPr txBox="1"/>
          <p:nvPr/>
        </p:nvSpPr>
        <p:spPr>
          <a:xfrm>
            <a:off x="9832932" y="1610115"/>
            <a:ext cx="2387773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BE" sz="1400">
                <a:ea typeface="+mn-lt"/>
                <a:cs typeface="+mn-lt"/>
              </a:rPr>
              <a:t>Zones à vitesse de transition élevée et où à priori les réseaux BT sont en capacité d'accueillir la première vague 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0D98CD-6BCB-4A9C-8D9D-0CAE0A3727BD}"/>
              </a:ext>
            </a:extLst>
          </p:cNvPr>
          <p:cNvSpPr txBox="1"/>
          <p:nvPr/>
        </p:nvSpPr>
        <p:spPr>
          <a:xfrm>
            <a:off x="9916439" y="2810525"/>
            <a:ext cx="2387773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BE" sz="1400">
                <a:ea typeface="+mn-lt"/>
                <a:cs typeface="+mn-lt"/>
              </a:rPr>
              <a:t>Zones à vitesse de transition élevée et où les réseaux BT ne serait pas en capacité d'accueillir la première vague en combinaison avec une amélioration de la résilience 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97D29D-5111-42D1-A2ED-2A98F7CE6FE0}"/>
              </a:ext>
            </a:extLst>
          </p:cNvPr>
          <p:cNvSpPr txBox="1"/>
          <p:nvPr/>
        </p:nvSpPr>
        <p:spPr>
          <a:xfrm>
            <a:off x="9832931" y="4668551"/>
            <a:ext cx="2387773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BE" sz="1400">
                <a:ea typeface="+mn-lt"/>
                <a:cs typeface="+mn-lt"/>
              </a:rPr>
              <a:t>Zones à vitesse de transition élevée et où les réseaux BT ne serait pas en capacité d'accueillir la première vague  </a:t>
            </a:r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4D68D0-386B-4237-AE1D-819A0BBC6EA8}"/>
              </a:ext>
            </a:extLst>
          </p:cNvPr>
          <p:cNvSpPr txBox="1"/>
          <p:nvPr/>
        </p:nvSpPr>
        <p:spPr>
          <a:xfrm>
            <a:off x="925137" y="1212130"/>
            <a:ext cx="107827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BE" dirty="0">
                <a:cs typeface="Calibri Light"/>
              </a:rPr>
              <a:t>Représentation des zones où la vitesse de la transition énergétique sera la plus forte</a:t>
            </a:r>
            <a:endParaRPr lang="fr-BE" dirty="0"/>
          </a:p>
        </p:txBody>
      </p:sp>
      <p:pic>
        <p:nvPicPr>
          <p:cNvPr id="24578" name="Image 8">
            <a:extLst>
              <a:ext uri="{FF2B5EF4-FFF2-40B4-BE49-F238E27FC236}">
                <a16:creationId xmlns:a16="http://schemas.microsoft.com/office/drawing/2014/main" id="{9E353E18-259B-4AB9-B52C-BA3F97A68B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80" y="1610115"/>
            <a:ext cx="8224275" cy="5241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62055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A8B260B-2BEC-476D-9D59-B8A67C33DC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Cette présentation était centrée sur le « se déplacer autrement » mais le réseau connaitra d’autres évolutions:</a:t>
            </a:r>
          </a:p>
          <a:p>
            <a:pPr marL="1494871" lvl="1" indent="-342900">
              <a:buFont typeface="Arial" panose="020B0604020202020204" pitchFamily="34" charset="0"/>
              <a:buChar char="•"/>
            </a:pPr>
            <a:r>
              <a:rPr lang="fr-BE" dirty="0"/>
              <a:t>Produire autrement: continuer l’augmentation de production à partir d’énergie renouvelable</a:t>
            </a:r>
          </a:p>
          <a:p>
            <a:pPr marL="1494871" lvl="1" indent="-342900">
              <a:buFont typeface="Arial" panose="020B0604020202020204" pitchFamily="34" charset="0"/>
              <a:buChar char="•"/>
            </a:pPr>
            <a:r>
              <a:rPr lang="fr-BE" dirty="0"/>
              <a:t>Se chauffer autrement: ce qui passe d’abord par mieux chauffer et ensuite chauffer de manière efficiente (pompes à chaleur)</a:t>
            </a:r>
          </a:p>
          <a:p>
            <a:pPr marL="1494871" lvl="1" indent="-342900">
              <a:buFont typeface="Arial" panose="020B0604020202020204" pitchFamily="34" charset="0"/>
              <a:buChar char="•"/>
            </a:pPr>
            <a:r>
              <a:rPr lang="fr-BE" dirty="0"/>
              <a:t>Être plus résilient: pour amortir le choc face à l’augmentation de la fréquence des phénomènes météorologiques graves (inondation, tempête, …)</a:t>
            </a:r>
          </a:p>
          <a:p>
            <a:r>
              <a:rPr lang="fr-BE" dirty="0"/>
              <a:t>Les maitres mots des plans industriels sont « </a:t>
            </a:r>
            <a:r>
              <a:rPr lang="fr-BE" sz="2800" b="1" dirty="0">
                <a:solidFill>
                  <a:schemeClr val="accent1">
                    <a:lumMod val="75000"/>
                  </a:schemeClr>
                </a:solidFill>
              </a:rPr>
              <a:t>ciblage et anticipation </a:t>
            </a:r>
            <a:r>
              <a:rPr lang="fr-BE" dirty="0"/>
              <a:t>» pour que les investissements soient supportables pour nos clients, et réalistes par rapport à nos ressources disponibles (personnel propre, entrepreneurs, matériel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6943BF-6F97-4ED1-B6E7-43E3803E3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Investir de manière optimale au bon endroit au bon mo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3B093A-648C-46CD-9D70-7A8469C42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9B5265-B742-4288-80A5-C77C4599884B}" type="slidenum">
              <a:rPr lang="fr-BE" smtClean="0"/>
              <a:pPr/>
              <a:t>1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8035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0E039E-E604-F081-3CEE-31B851750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500">
                <a:cs typeface="Arial"/>
              </a:rPr>
              <a:t>Introduction - </a:t>
            </a:r>
            <a:r>
              <a:rPr lang="en-US" sz="4500" err="1">
                <a:cs typeface="Arial"/>
              </a:rPr>
              <a:t>Contexte</a:t>
            </a:r>
          </a:p>
        </p:txBody>
      </p:sp>
    </p:spTree>
    <p:extLst>
      <p:ext uri="{BB962C8B-B14F-4D97-AF65-F5344CB8AC3E}">
        <p14:creationId xmlns:p14="http://schemas.microsoft.com/office/powerpoint/2010/main" val="354020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4E6B85-DE60-1FF8-D5D2-7A5198564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>
                <a:ea typeface="+mj-lt"/>
                <a:cs typeface="+mj-lt"/>
              </a:rPr>
              <a:t>Tous les leviers doivent contribuer à la décarbonation du secteur du transport</a:t>
            </a:r>
            <a:endParaRPr lang="fr-FR"/>
          </a:p>
        </p:txBody>
      </p:sp>
      <p:pic>
        <p:nvPicPr>
          <p:cNvPr id="5" name="Image 5">
            <a:extLst>
              <a:ext uri="{FF2B5EF4-FFF2-40B4-BE49-F238E27FC236}">
                <a16:creationId xmlns:a16="http://schemas.microsoft.com/office/drawing/2014/main" id="{11B7D622-36DF-1CED-CE53-B234907D00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0647" r="126" b="-209"/>
          <a:stretch/>
        </p:blipFill>
        <p:spPr>
          <a:xfrm>
            <a:off x="1366684" y="1664816"/>
            <a:ext cx="9097342" cy="4952294"/>
          </a:xfrm>
        </p:spPr>
      </p:pic>
    </p:spTree>
    <p:extLst>
      <p:ext uri="{BB962C8B-B14F-4D97-AF65-F5344CB8AC3E}">
        <p14:creationId xmlns:p14="http://schemas.microsoft.com/office/powerpoint/2010/main" val="6752150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28E41-7874-4AB2-85D8-43DC949F99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DBDF2A-9DCD-40CB-BD97-77BAFAEBB4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46D1E6-C034-4C56-A421-78E24FD314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1221423" cy="6858000"/>
          </a:xfrm>
          <a:prstGeom prst="rect">
            <a:avLst/>
          </a:prstGeom>
        </p:spPr>
      </p:pic>
      <p:sp>
        <p:nvSpPr>
          <p:cNvPr id="6" name="Right Brace 5">
            <a:extLst>
              <a:ext uri="{FF2B5EF4-FFF2-40B4-BE49-F238E27FC236}">
                <a16:creationId xmlns:a16="http://schemas.microsoft.com/office/drawing/2014/main" id="{AD545736-A4B0-428A-963E-547AE757B77F}"/>
              </a:ext>
            </a:extLst>
          </p:cNvPr>
          <p:cNvSpPr/>
          <p:nvPr/>
        </p:nvSpPr>
        <p:spPr>
          <a:xfrm>
            <a:off x="7641964" y="2758894"/>
            <a:ext cx="561004" cy="2387601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9D30F9-510C-4682-BA35-BEE7451DF4F1}"/>
              </a:ext>
            </a:extLst>
          </p:cNvPr>
          <p:cNvSpPr txBox="1"/>
          <p:nvPr/>
        </p:nvSpPr>
        <p:spPr>
          <a:xfrm>
            <a:off x="8243500" y="3534778"/>
            <a:ext cx="28201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/>
              <a:t>Correspond à + 20 % par rapport à la consommation d’électricité en distribu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7ED07C-14F6-4AD4-AAD7-34333DE399DD}"/>
              </a:ext>
            </a:extLst>
          </p:cNvPr>
          <p:cNvSpPr txBox="1"/>
          <p:nvPr/>
        </p:nvSpPr>
        <p:spPr>
          <a:xfrm>
            <a:off x="9365309" y="6421408"/>
            <a:ext cx="1204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13078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>
            <a:extLst>
              <a:ext uri="{FF2B5EF4-FFF2-40B4-BE49-F238E27FC236}">
                <a16:creationId xmlns:a16="http://schemas.microsoft.com/office/drawing/2014/main" id="{FB183D9A-F7AA-4499-8335-1ABE3D2EC0CF}"/>
              </a:ext>
            </a:extLst>
          </p:cNvPr>
          <p:cNvSpPr/>
          <p:nvPr/>
        </p:nvSpPr>
        <p:spPr>
          <a:xfrm>
            <a:off x="5205483" y="1251663"/>
            <a:ext cx="1369742" cy="13697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862C6A7-8A5A-43BD-8A99-8DFF2D722AEE}"/>
              </a:ext>
            </a:extLst>
          </p:cNvPr>
          <p:cNvSpPr/>
          <p:nvPr/>
        </p:nvSpPr>
        <p:spPr>
          <a:xfrm>
            <a:off x="1823241" y="1251663"/>
            <a:ext cx="1369742" cy="136974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9E54DB2-4340-4ED3-BC11-81B77A49A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1837"/>
            <a:ext cx="10752000" cy="816000"/>
          </a:xfrm>
        </p:spPr>
        <p:txBody>
          <a:bodyPr/>
          <a:lstStyle/>
          <a:p>
            <a:r>
              <a:rPr lang="fr-BE">
                <a:latin typeface="Arial" panose="020B0604020202020204" pitchFamily="34" charset="0"/>
                <a:cs typeface="Arial" panose="020B0604020202020204" pitchFamily="34" charset="0"/>
              </a:rPr>
              <a:t>Où vont se concentrer les évènements de charge 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34F2BB-13DE-4D29-82BF-7C83DA60E788}"/>
              </a:ext>
            </a:extLst>
          </p:cNvPr>
          <p:cNvSpPr txBox="1"/>
          <p:nvPr/>
        </p:nvSpPr>
        <p:spPr>
          <a:xfrm>
            <a:off x="5614591" y="6079195"/>
            <a:ext cx="64986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BE" sz="1200"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US" sz="1200" b="0" i="0" u="none" strike="noStrike" baseline="0">
                <a:latin typeface="Arial" panose="020B0604020202020204" pitchFamily="34" charset="0"/>
                <a:cs typeface="Arial" panose="020B0604020202020204" pitchFamily="34" charset="0"/>
              </a:rPr>
              <a:t>LOAD MODELLING AND DISTRIBUTION PLANNING IN THE ERA OF ELECTRIC MOBILITY et </a:t>
            </a:r>
            <a:r>
              <a:rPr lang="de-DE" sz="1100" b="0" i="0" u="none" strike="noStrike" baseline="0">
                <a:latin typeface="Arial" panose="020B0604020202020204" pitchFamily="34" charset="0"/>
                <a:cs typeface="Arial" panose="020B0604020202020204" pitchFamily="34" charset="0"/>
              </a:rPr>
              <a:t>Maier U., </a:t>
            </a:r>
            <a:r>
              <a:rPr lang="de-DE" sz="1100" b="0" i="0" u="none" strike="noStrike" baseline="0" err="1">
                <a:latin typeface="Arial" panose="020B0604020202020204" pitchFamily="34" charset="0"/>
                <a:cs typeface="Arial" panose="020B0604020202020204" pitchFamily="34" charset="0"/>
              </a:rPr>
              <a:t>Ropenus</a:t>
            </a:r>
            <a:r>
              <a:rPr lang="de-DE" sz="1100" b="0" i="0" u="none" strike="noStrike" baseline="0">
                <a:latin typeface="Arial" panose="020B0604020202020204" pitchFamily="34" charset="0"/>
                <a:cs typeface="Arial" panose="020B0604020202020204" pitchFamily="34" charset="0"/>
              </a:rPr>
              <a:t> S., and al., Verteilnetzausbau für die Energiewende Elektromobilität </a:t>
            </a:r>
            <a:r>
              <a:rPr lang="fr-BE" sz="1100" b="0" i="0" u="none" strike="noStrike" baseline="0" err="1">
                <a:latin typeface="Arial" panose="020B0604020202020204" pitchFamily="34" charset="0"/>
                <a:cs typeface="Arial" panose="020B0604020202020204" pitchFamily="34" charset="0"/>
              </a:rPr>
              <a:t>im</a:t>
            </a:r>
            <a:r>
              <a:rPr lang="fr-BE" sz="1100" b="0" i="0" u="none" strike="noStrike" baseline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BE" sz="1100" b="0" i="0" u="none" strike="noStrike" baseline="0" err="1">
                <a:latin typeface="Arial" panose="020B0604020202020204" pitchFamily="34" charset="0"/>
                <a:cs typeface="Arial" panose="020B0604020202020204" pitchFamily="34" charset="0"/>
              </a:rPr>
              <a:t>Fokus</a:t>
            </a:r>
            <a:r>
              <a:rPr lang="fr-BE" sz="1100" b="0" i="0" u="none" strike="noStrike" baseline="0">
                <a:latin typeface="Arial" panose="020B0604020202020204" pitchFamily="34" charset="0"/>
                <a:cs typeface="Arial" panose="020B0604020202020204" pitchFamily="34" charset="0"/>
              </a:rPr>
              <a:t>, Navigant, RAP, Agora </a:t>
            </a:r>
            <a:r>
              <a:rPr lang="fr-BE" sz="1100" b="0" i="0" u="none" strike="noStrike" baseline="0" err="1">
                <a:latin typeface="Arial" panose="020B0604020202020204" pitchFamily="34" charset="0"/>
                <a:cs typeface="Arial" panose="020B0604020202020204" pitchFamily="34" charset="0"/>
              </a:rPr>
              <a:t>Energiewende</a:t>
            </a:r>
            <a:r>
              <a:rPr lang="fr-BE" sz="1100" b="0" i="0" u="none" strike="noStrike" baseline="0">
                <a:latin typeface="Arial" panose="020B0604020202020204" pitchFamily="34" charset="0"/>
                <a:cs typeface="Arial" panose="020B0604020202020204" pitchFamily="34" charset="0"/>
              </a:rPr>
              <a:t>, Agora </a:t>
            </a:r>
            <a:r>
              <a:rPr lang="fr-BE" sz="1100" b="0" i="0" u="none" strike="noStrike" baseline="0" err="1">
                <a:latin typeface="Arial" panose="020B0604020202020204" pitchFamily="34" charset="0"/>
                <a:cs typeface="Arial" panose="020B0604020202020204" pitchFamily="34" charset="0"/>
              </a:rPr>
              <a:t>Verkehrswende</a:t>
            </a:r>
            <a:r>
              <a:rPr lang="fr-BE" sz="1100" b="0" i="0" u="none" strike="noStrike" baseline="0">
                <a:latin typeface="Arial" panose="020B0604020202020204" pitchFamily="34" charset="0"/>
                <a:cs typeface="Arial" panose="020B0604020202020204" pitchFamily="34" charset="0"/>
              </a:rPr>
              <a:t>, August 2019, Berlin</a:t>
            </a:r>
            <a:r>
              <a:rPr lang="fr-BE" sz="10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DB90AA6A-736B-44EE-ABD8-F04AFBFEED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0892" y="1434759"/>
            <a:ext cx="943694" cy="943694"/>
          </a:xfrm>
          <a:prstGeom prst="rect">
            <a:avLst/>
          </a:prstGeom>
        </p:spPr>
      </p:pic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EEBAB29B-3C8B-4B7F-98C2-68B173E153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4373" y="1434759"/>
            <a:ext cx="947478" cy="94747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092D1B3-69C1-4DF2-B2BF-F7DDA82D8C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00" y="2620612"/>
            <a:ext cx="3507059" cy="21968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AAD2B89-7F33-44E1-B9C6-4BF17DB616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22320" y="2608033"/>
            <a:ext cx="3331450" cy="2211343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3FE0AB70-AC48-47A2-97E2-ACBCDA1848AF}"/>
              </a:ext>
            </a:extLst>
          </p:cNvPr>
          <p:cNvSpPr/>
          <p:nvPr/>
        </p:nvSpPr>
        <p:spPr>
          <a:xfrm>
            <a:off x="8668620" y="1246108"/>
            <a:ext cx="1369742" cy="136974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315755FD-8146-4788-B5E4-99B153692C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3116" y="1434759"/>
            <a:ext cx="935875" cy="93587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8133E92-0971-4C5F-92FF-E864D778B09B}"/>
              </a:ext>
            </a:extLst>
          </p:cNvPr>
          <p:cNvSpPr txBox="1"/>
          <p:nvPr/>
        </p:nvSpPr>
        <p:spPr>
          <a:xfrm>
            <a:off x="3279041" y="5064592"/>
            <a:ext cx="76860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BE" sz="1800">
                <a:latin typeface="Arial" panose="020B0604020202020204" pitchFamily="34" charset="0"/>
                <a:cs typeface="Arial" panose="020B0604020202020204" pitchFamily="34" charset="0"/>
              </a:rPr>
              <a:t>Les évènements de charges vont principalement se dérouler au domicile et sur bornes publiques, donc en BT (basse </a:t>
            </a:r>
            <a:r>
              <a:rPr lang="fr-BE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fr-BE" sz="1800">
                <a:latin typeface="Arial" panose="020B0604020202020204" pitchFamily="34" charset="0"/>
                <a:cs typeface="Arial" panose="020B0604020202020204" pitchFamily="34" charset="0"/>
              </a:rPr>
              <a:t>ensio</a:t>
            </a:r>
            <a:r>
              <a:rPr lang="fr-BE">
                <a:latin typeface="Arial" panose="020B0604020202020204" pitchFamily="34" charset="0"/>
                <a:cs typeface="Arial" panose="020B0604020202020204" pitchFamily="34" charset="0"/>
              </a:rPr>
              <a:t>n)</a:t>
            </a:r>
            <a:endParaRPr lang="fr-BE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2B2FE4FD-BBCC-40A8-873D-6598249914D0}"/>
              </a:ext>
            </a:extLst>
          </p:cNvPr>
          <p:cNvSpPr/>
          <p:nvPr/>
        </p:nvSpPr>
        <p:spPr>
          <a:xfrm rot="16200000">
            <a:off x="2376846" y="4811693"/>
            <a:ext cx="467182" cy="1152127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 sz="24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CD670E-6F27-47D0-B545-05080B2CDD9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402" t="1045" r="1787" b="3128"/>
          <a:stretch/>
        </p:blipFill>
        <p:spPr>
          <a:xfrm>
            <a:off x="7695328" y="2608033"/>
            <a:ext cx="3331450" cy="21415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10CD5D-4614-4177-8916-C7E7E122EE53}"/>
              </a:ext>
            </a:extLst>
          </p:cNvPr>
          <p:cNvSpPr txBox="1"/>
          <p:nvPr/>
        </p:nvSpPr>
        <p:spPr>
          <a:xfrm>
            <a:off x="10196692" y="2860444"/>
            <a:ext cx="555172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8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8B7AC2-1C97-4094-B5BD-B2375C0E4A65}"/>
              </a:ext>
            </a:extLst>
          </p:cNvPr>
          <p:cNvCxnSpPr/>
          <p:nvPr/>
        </p:nvCxnSpPr>
        <p:spPr>
          <a:xfrm flipH="1">
            <a:off x="9828991" y="3019167"/>
            <a:ext cx="113607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962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4EEA1ED-A4FA-43B5-83B4-3392B7E07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ffets sur le réseau BT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4EA43D7-44BE-47E6-8C79-92D3C4F03F15}"/>
              </a:ext>
            </a:extLst>
          </p:cNvPr>
          <p:cNvGrpSpPr/>
          <p:nvPr/>
        </p:nvGrpSpPr>
        <p:grpSpPr>
          <a:xfrm>
            <a:off x="383251" y="1986843"/>
            <a:ext cx="10790002" cy="969269"/>
            <a:chOff x="383251" y="1986843"/>
            <a:chExt cx="10790002" cy="969269"/>
          </a:xfrm>
        </p:grpSpPr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0A176547-B315-46A3-AC78-3033B048E155}"/>
                </a:ext>
              </a:extLst>
            </p:cNvPr>
            <p:cNvSpPr/>
            <p:nvPr/>
          </p:nvSpPr>
          <p:spPr>
            <a:xfrm>
              <a:off x="4419600" y="2211875"/>
              <a:ext cx="1047750" cy="51920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2B502A1-68A4-4871-9EAD-1883092D5533}"/>
                </a:ext>
              </a:extLst>
            </p:cNvPr>
            <p:cNvSpPr txBox="1"/>
            <p:nvPr/>
          </p:nvSpPr>
          <p:spPr>
            <a:xfrm>
              <a:off x="5563885" y="1994424"/>
              <a:ext cx="560936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2800" dirty="0"/>
                <a:t>15 kW = la somme de la puissance des appareils dans une habitation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9BCF51A-95BB-4B4F-9677-2FE9342A1C8F}"/>
                </a:ext>
              </a:extLst>
            </p:cNvPr>
            <p:cNvGrpSpPr/>
            <p:nvPr/>
          </p:nvGrpSpPr>
          <p:grpSpPr>
            <a:xfrm>
              <a:off x="383251" y="1986843"/>
              <a:ext cx="3758365" cy="969269"/>
              <a:chOff x="382394" y="1280082"/>
              <a:chExt cx="3758365" cy="969269"/>
            </a:xfrm>
          </p:grpSpPr>
          <p:pic>
            <p:nvPicPr>
              <p:cNvPr id="13" name="Graphic 12" descr="Washing Machine outline">
                <a:extLst>
                  <a:ext uri="{FF2B5EF4-FFF2-40B4-BE49-F238E27FC236}">
                    <a16:creationId xmlns:a16="http://schemas.microsoft.com/office/drawing/2014/main" id="{95A4F44A-027C-4F08-91D0-FC6724E3B9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205684" y="1464709"/>
                <a:ext cx="708992" cy="708992"/>
              </a:xfrm>
              <a:prstGeom prst="rect">
                <a:avLst/>
              </a:prstGeom>
            </p:spPr>
          </p:pic>
          <p:pic>
            <p:nvPicPr>
              <p:cNvPr id="15" name="Graphic 14" descr="Monitor with solid fill">
                <a:extLst>
                  <a:ext uri="{FF2B5EF4-FFF2-40B4-BE49-F238E27FC236}">
                    <a16:creationId xmlns:a16="http://schemas.microsoft.com/office/drawing/2014/main" id="{1BB190DA-BCF8-42CF-B0C8-1472ABA51F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56737" y="1611557"/>
                <a:ext cx="566596" cy="566596"/>
              </a:xfrm>
              <a:prstGeom prst="rect">
                <a:avLst/>
              </a:prstGeom>
            </p:spPr>
          </p:pic>
          <p:pic>
            <p:nvPicPr>
              <p:cNvPr id="20" name="Graphic 19" descr="Computer with solid fill">
                <a:extLst>
                  <a:ext uri="{FF2B5EF4-FFF2-40B4-BE49-F238E27FC236}">
                    <a16:creationId xmlns:a16="http://schemas.microsoft.com/office/drawing/2014/main" id="{3E00C0D8-15FF-425E-8BFD-E513EA2E21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455117" y="1540359"/>
                <a:ext cx="708992" cy="708992"/>
              </a:xfrm>
              <a:prstGeom prst="rect">
                <a:avLst/>
              </a:prstGeom>
            </p:spPr>
          </p:pic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3DF8AC6-A3FE-488C-8AB2-B9D008C38691}"/>
                  </a:ext>
                </a:extLst>
              </p:cNvPr>
              <p:cNvGrpSpPr/>
              <p:nvPr/>
            </p:nvGrpSpPr>
            <p:grpSpPr>
              <a:xfrm>
                <a:off x="864000" y="1280082"/>
                <a:ext cx="566596" cy="914400"/>
                <a:chOff x="3419719" y="1424889"/>
                <a:chExt cx="566596" cy="914400"/>
              </a:xfrm>
            </p:grpSpPr>
            <p:pic>
              <p:nvPicPr>
                <p:cNvPr id="18" name="Graphic 17" descr="Washing Machine outline">
                  <a:extLst>
                    <a:ext uri="{FF2B5EF4-FFF2-40B4-BE49-F238E27FC236}">
                      <a16:creationId xmlns:a16="http://schemas.microsoft.com/office/drawing/2014/main" id="{2EE4E1F1-756C-4811-8CFC-9304B832CB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19719" y="1424889"/>
                  <a:ext cx="566596" cy="914400"/>
                </a:xfrm>
                <a:prstGeom prst="rect">
                  <a:avLst/>
                </a:prstGeom>
              </p:spPr>
            </p:pic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161A4704-43C9-45CF-B1CE-8693F77BDC2E}"/>
                    </a:ext>
                  </a:extLst>
                </p:cNvPr>
                <p:cNvSpPr/>
                <p:nvPr/>
              </p:nvSpPr>
              <p:spPr>
                <a:xfrm>
                  <a:off x="3567161" y="1691148"/>
                  <a:ext cx="267420" cy="52541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 dirty="0"/>
                </a:p>
              </p:txBody>
            </p:sp>
            <p:grpSp>
              <p:nvGrpSpPr>
                <p:cNvPr id="21" name="Graphic 16" descr="Low temperature outline">
                  <a:extLst>
                    <a:ext uri="{FF2B5EF4-FFF2-40B4-BE49-F238E27FC236}">
                      <a16:creationId xmlns:a16="http://schemas.microsoft.com/office/drawing/2014/main" id="{819B8BDE-B2AC-43F5-8697-632F3BC28FFA}"/>
                    </a:ext>
                  </a:extLst>
                </p:cNvPr>
                <p:cNvGrpSpPr/>
                <p:nvPr/>
              </p:nvGrpSpPr>
              <p:grpSpPr>
                <a:xfrm>
                  <a:off x="3530738" y="1799303"/>
                  <a:ext cx="341750" cy="305976"/>
                  <a:chOff x="3746763" y="2490224"/>
                  <a:chExt cx="416080" cy="367015"/>
                </a:xfrm>
                <a:solidFill>
                  <a:srgbClr val="000000"/>
                </a:solidFill>
              </p:grpSpPr>
              <p:sp>
                <p:nvSpPr>
                  <p:cNvPr id="22" name="Freeform: Shape 21">
                    <a:extLst>
                      <a:ext uri="{FF2B5EF4-FFF2-40B4-BE49-F238E27FC236}">
                        <a16:creationId xmlns:a16="http://schemas.microsoft.com/office/drawing/2014/main" id="{2CB7BF25-08B1-447B-9AD5-21173663AA24}"/>
                      </a:ext>
                    </a:extLst>
                  </p:cNvPr>
                  <p:cNvSpPr/>
                  <p:nvPr/>
                </p:nvSpPr>
                <p:spPr>
                  <a:xfrm>
                    <a:off x="3746763" y="2490224"/>
                    <a:ext cx="416080" cy="367015"/>
                  </a:xfrm>
                  <a:custGeom>
                    <a:avLst/>
                    <a:gdLst>
                      <a:gd name="connsiteX0" fmla="*/ 9660 w 416080"/>
                      <a:gd name="connsiteY0" fmla="*/ 364428 h 367015"/>
                      <a:gd name="connsiteX1" fmla="*/ 19316 w 416080"/>
                      <a:gd name="connsiteY1" fmla="*/ 367016 h 367015"/>
                      <a:gd name="connsiteX2" fmla="*/ 396786 w 416080"/>
                      <a:gd name="connsiteY2" fmla="*/ 367016 h 367015"/>
                      <a:gd name="connsiteX3" fmla="*/ 416080 w 416080"/>
                      <a:gd name="connsiteY3" fmla="*/ 347682 h 367015"/>
                      <a:gd name="connsiteX4" fmla="*/ 413493 w 416080"/>
                      <a:gd name="connsiteY4" fmla="*/ 338045 h 367015"/>
                      <a:gd name="connsiteX5" fmla="*/ 224796 w 416080"/>
                      <a:gd name="connsiteY5" fmla="*/ 9710 h 367015"/>
                      <a:gd name="connsiteX6" fmla="*/ 198434 w 416080"/>
                      <a:gd name="connsiteY6" fmla="*/ 2562 h 367015"/>
                      <a:gd name="connsiteX7" fmla="*/ 191287 w 416080"/>
                      <a:gd name="connsiteY7" fmla="*/ 9710 h 367015"/>
                      <a:gd name="connsiteX8" fmla="*/ 2591 w 416080"/>
                      <a:gd name="connsiteY8" fmla="*/ 338045 h 367015"/>
                      <a:gd name="connsiteX9" fmla="*/ 9660 w 416080"/>
                      <a:gd name="connsiteY9" fmla="*/ 364428 h 367015"/>
                      <a:gd name="connsiteX10" fmla="*/ 10963 w 416080"/>
                      <a:gd name="connsiteY10" fmla="*/ 342873 h 367015"/>
                      <a:gd name="connsiteX11" fmla="*/ 199664 w 416080"/>
                      <a:gd name="connsiteY11" fmla="*/ 14538 h 367015"/>
                      <a:gd name="connsiteX12" fmla="*/ 203237 w 416080"/>
                      <a:gd name="connsiteY12" fmla="*/ 10965 h 367015"/>
                      <a:gd name="connsiteX13" fmla="*/ 208042 w 416080"/>
                      <a:gd name="connsiteY13" fmla="*/ 9657 h 367015"/>
                      <a:gd name="connsiteX14" fmla="*/ 216424 w 416080"/>
                      <a:gd name="connsiteY14" fmla="*/ 14538 h 367015"/>
                      <a:gd name="connsiteX15" fmla="*/ 405130 w 416080"/>
                      <a:gd name="connsiteY15" fmla="*/ 342873 h 367015"/>
                      <a:gd name="connsiteX16" fmla="*/ 401595 w 416080"/>
                      <a:gd name="connsiteY16" fmla="*/ 356065 h 367015"/>
                      <a:gd name="connsiteX17" fmla="*/ 396786 w 416080"/>
                      <a:gd name="connsiteY17" fmla="*/ 357359 h 367015"/>
                      <a:gd name="connsiteX18" fmla="*/ 19307 w 416080"/>
                      <a:gd name="connsiteY18" fmla="*/ 357359 h 367015"/>
                      <a:gd name="connsiteX19" fmla="*/ 9669 w 416080"/>
                      <a:gd name="connsiteY19" fmla="*/ 347683 h 367015"/>
                      <a:gd name="connsiteX20" fmla="*/ 10963 w 416080"/>
                      <a:gd name="connsiteY20" fmla="*/ 342873 h 36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416080" h="367015">
                        <a:moveTo>
                          <a:pt x="9660" y="364428"/>
                        </a:moveTo>
                        <a:cubicBezTo>
                          <a:pt x="12596" y="366121"/>
                          <a:pt x="15926" y="367014"/>
                          <a:pt x="19316" y="367016"/>
                        </a:cubicBezTo>
                        <a:lnTo>
                          <a:pt x="396786" y="367016"/>
                        </a:lnTo>
                        <a:cubicBezTo>
                          <a:pt x="407453" y="367005"/>
                          <a:pt x="416091" y="358349"/>
                          <a:pt x="416080" y="347682"/>
                        </a:cubicBezTo>
                        <a:cubicBezTo>
                          <a:pt x="416077" y="344298"/>
                          <a:pt x="415184" y="340975"/>
                          <a:pt x="413493" y="338045"/>
                        </a:cubicBezTo>
                        <a:lnTo>
                          <a:pt x="224796" y="9710"/>
                        </a:lnTo>
                        <a:cubicBezTo>
                          <a:pt x="219490" y="456"/>
                          <a:pt x="207688" y="-2744"/>
                          <a:pt x="198434" y="2562"/>
                        </a:cubicBezTo>
                        <a:cubicBezTo>
                          <a:pt x="195460" y="4268"/>
                          <a:pt x="192993" y="6735"/>
                          <a:pt x="191287" y="9710"/>
                        </a:cubicBezTo>
                        <a:lnTo>
                          <a:pt x="2591" y="338045"/>
                        </a:lnTo>
                        <a:cubicBezTo>
                          <a:pt x="-2742" y="347282"/>
                          <a:pt x="422" y="359094"/>
                          <a:pt x="9660" y="364428"/>
                        </a:cubicBezTo>
                        <a:close/>
                        <a:moveTo>
                          <a:pt x="10963" y="342873"/>
                        </a:moveTo>
                        <a:lnTo>
                          <a:pt x="199664" y="14538"/>
                        </a:lnTo>
                        <a:cubicBezTo>
                          <a:pt x="200515" y="13050"/>
                          <a:pt x="201749" y="11816"/>
                          <a:pt x="203237" y="10965"/>
                        </a:cubicBezTo>
                        <a:cubicBezTo>
                          <a:pt x="204694" y="10109"/>
                          <a:pt x="206352" y="9657"/>
                          <a:pt x="208042" y="9657"/>
                        </a:cubicBezTo>
                        <a:cubicBezTo>
                          <a:pt x="211507" y="9669"/>
                          <a:pt x="214703" y="11530"/>
                          <a:pt x="216424" y="14538"/>
                        </a:cubicBezTo>
                        <a:lnTo>
                          <a:pt x="405130" y="342873"/>
                        </a:lnTo>
                        <a:cubicBezTo>
                          <a:pt x="407796" y="347492"/>
                          <a:pt x="406214" y="353398"/>
                          <a:pt x="401595" y="356065"/>
                        </a:cubicBezTo>
                        <a:cubicBezTo>
                          <a:pt x="400133" y="356909"/>
                          <a:pt x="398475" y="357355"/>
                          <a:pt x="396786" y="357359"/>
                        </a:cubicBezTo>
                        <a:lnTo>
                          <a:pt x="19307" y="357359"/>
                        </a:lnTo>
                        <a:cubicBezTo>
                          <a:pt x="13973" y="357348"/>
                          <a:pt x="9659" y="353016"/>
                          <a:pt x="9669" y="347683"/>
                        </a:cubicBezTo>
                        <a:cubicBezTo>
                          <a:pt x="9673" y="345994"/>
                          <a:pt x="10119" y="344335"/>
                          <a:pt x="10963" y="342873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47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BE"/>
                  </a:p>
                </p:txBody>
              </p:sp>
              <p:sp>
                <p:nvSpPr>
                  <p:cNvPr id="23" name="Freeform: Shape 22">
                    <a:extLst>
                      <a:ext uri="{FF2B5EF4-FFF2-40B4-BE49-F238E27FC236}">
                        <a16:creationId xmlns:a16="http://schemas.microsoft.com/office/drawing/2014/main" id="{03B19385-A23D-4522-A927-CC89F7AC7D93}"/>
                      </a:ext>
                    </a:extLst>
                  </p:cNvPr>
                  <p:cNvSpPr/>
                  <p:nvPr/>
                </p:nvSpPr>
                <p:spPr>
                  <a:xfrm>
                    <a:off x="3879039" y="2615817"/>
                    <a:ext cx="168296" cy="193138"/>
                  </a:xfrm>
                  <a:custGeom>
                    <a:avLst/>
                    <a:gdLst>
                      <a:gd name="connsiteX0" fmla="*/ 667 w 168296"/>
                      <a:gd name="connsiteY0" fmla="*/ 144989 h 193138"/>
                      <a:gd name="connsiteX1" fmla="*/ 7265 w 168296"/>
                      <a:gd name="connsiteY1" fmla="*/ 146748 h 193138"/>
                      <a:gd name="connsiteX2" fmla="*/ 7268 w 168296"/>
                      <a:gd name="connsiteY2" fmla="*/ 146747 h 193138"/>
                      <a:gd name="connsiteX3" fmla="*/ 38957 w 168296"/>
                      <a:gd name="connsiteY3" fmla="*/ 128398 h 193138"/>
                      <a:gd name="connsiteX4" fmla="*/ 31415 w 168296"/>
                      <a:gd name="connsiteY4" fmla="*/ 156727 h 193138"/>
                      <a:gd name="connsiteX5" fmla="*/ 35099 w 168296"/>
                      <a:gd name="connsiteY5" fmla="*/ 162476 h 193138"/>
                      <a:gd name="connsiteX6" fmla="*/ 40743 w 168296"/>
                      <a:gd name="connsiteY6" fmla="*/ 159189 h 193138"/>
                      <a:gd name="connsiteX7" fmla="*/ 50772 w 168296"/>
                      <a:gd name="connsiteY7" fmla="*/ 121527 h 193138"/>
                      <a:gd name="connsiteX8" fmla="*/ 66266 w 168296"/>
                      <a:gd name="connsiteY8" fmla="*/ 112547 h 193138"/>
                      <a:gd name="connsiteX9" fmla="*/ 79371 w 168296"/>
                      <a:gd name="connsiteY9" fmla="*/ 120229 h 193138"/>
                      <a:gd name="connsiteX10" fmla="*/ 79371 w 168296"/>
                      <a:gd name="connsiteY10" fmla="*/ 138031 h 193138"/>
                      <a:gd name="connsiteX11" fmla="*/ 51815 w 168296"/>
                      <a:gd name="connsiteY11" fmla="*/ 165587 h 193138"/>
                      <a:gd name="connsiteX12" fmla="*/ 51934 w 168296"/>
                      <a:gd name="connsiteY12" fmla="*/ 172415 h 193138"/>
                      <a:gd name="connsiteX13" fmla="*/ 58642 w 168296"/>
                      <a:gd name="connsiteY13" fmla="*/ 172415 h 193138"/>
                      <a:gd name="connsiteX14" fmla="*/ 79371 w 168296"/>
                      <a:gd name="connsiteY14" fmla="*/ 151681 h 193138"/>
                      <a:gd name="connsiteX15" fmla="*/ 79371 w 168296"/>
                      <a:gd name="connsiteY15" fmla="*/ 188310 h 193138"/>
                      <a:gd name="connsiteX16" fmla="*/ 84199 w 168296"/>
                      <a:gd name="connsiteY16" fmla="*/ 193138 h 193138"/>
                      <a:gd name="connsiteX17" fmla="*/ 89028 w 168296"/>
                      <a:gd name="connsiteY17" fmla="*/ 188310 h 193138"/>
                      <a:gd name="connsiteX18" fmla="*/ 89028 w 168296"/>
                      <a:gd name="connsiteY18" fmla="*/ 151681 h 193138"/>
                      <a:gd name="connsiteX19" fmla="*/ 109756 w 168296"/>
                      <a:gd name="connsiteY19" fmla="*/ 172410 h 193138"/>
                      <a:gd name="connsiteX20" fmla="*/ 116584 w 168296"/>
                      <a:gd name="connsiteY20" fmla="*/ 172529 h 193138"/>
                      <a:gd name="connsiteX21" fmla="*/ 116703 w 168296"/>
                      <a:gd name="connsiteY21" fmla="*/ 165701 h 193138"/>
                      <a:gd name="connsiteX22" fmla="*/ 116584 w 168296"/>
                      <a:gd name="connsiteY22" fmla="*/ 165582 h 193138"/>
                      <a:gd name="connsiteX23" fmla="*/ 89028 w 168296"/>
                      <a:gd name="connsiteY23" fmla="*/ 138026 h 193138"/>
                      <a:gd name="connsiteX24" fmla="*/ 89028 w 168296"/>
                      <a:gd name="connsiteY24" fmla="*/ 120229 h 193138"/>
                      <a:gd name="connsiteX25" fmla="*/ 102152 w 168296"/>
                      <a:gd name="connsiteY25" fmla="*/ 112556 h 193138"/>
                      <a:gd name="connsiteX26" fmla="*/ 117646 w 168296"/>
                      <a:gd name="connsiteY26" fmla="*/ 121537 h 193138"/>
                      <a:gd name="connsiteX27" fmla="*/ 127656 w 168296"/>
                      <a:gd name="connsiteY27" fmla="*/ 159189 h 193138"/>
                      <a:gd name="connsiteX28" fmla="*/ 133563 w 168296"/>
                      <a:gd name="connsiteY28" fmla="*/ 162615 h 193138"/>
                      <a:gd name="connsiteX29" fmla="*/ 136989 w 168296"/>
                      <a:gd name="connsiteY29" fmla="*/ 156708 h 193138"/>
                      <a:gd name="connsiteX30" fmla="*/ 129447 w 168296"/>
                      <a:gd name="connsiteY30" fmla="*/ 128379 h 193138"/>
                      <a:gd name="connsiteX31" fmla="*/ 161136 w 168296"/>
                      <a:gd name="connsiteY31" fmla="*/ 146727 h 193138"/>
                      <a:gd name="connsiteX32" fmla="*/ 167676 w 168296"/>
                      <a:gd name="connsiteY32" fmla="*/ 144763 h 193138"/>
                      <a:gd name="connsiteX33" fmla="*/ 165964 w 168296"/>
                      <a:gd name="connsiteY33" fmla="*/ 138369 h 193138"/>
                      <a:gd name="connsiteX34" fmla="*/ 134275 w 168296"/>
                      <a:gd name="connsiteY34" fmla="*/ 120021 h 193138"/>
                      <a:gd name="connsiteX35" fmla="*/ 162633 w 168296"/>
                      <a:gd name="connsiteY35" fmla="*/ 112503 h 193138"/>
                      <a:gd name="connsiteX36" fmla="*/ 166056 w 168296"/>
                      <a:gd name="connsiteY36" fmla="*/ 106593 h 193138"/>
                      <a:gd name="connsiteX37" fmla="*/ 160146 w 168296"/>
                      <a:gd name="connsiteY37" fmla="*/ 103170 h 193138"/>
                      <a:gd name="connsiteX38" fmla="*/ 122484 w 168296"/>
                      <a:gd name="connsiteY38" fmla="*/ 113198 h 193138"/>
                      <a:gd name="connsiteX39" fmla="*/ 106990 w 168296"/>
                      <a:gd name="connsiteY39" fmla="*/ 104193 h 193138"/>
                      <a:gd name="connsiteX40" fmla="*/ 106990 w 168296"/>
                      <a:gd name="connsiteY40" fmla="*/ 88945 h 193138"/>
                      <a:gd name="connsiteX41" fmla="*/ 122494 w 168296"/>
                      <a:gd name="connsiteY41" fmla="*/ 79959 h 193138"/>
                      <a:gd name="connsiteX42" fmla="*/ 160156 w 168296"/>
                      <a:gd name="connsiteY42" fmla="*/ 89988 h 193138"/>
                      <a:gd name="connsiteX43" fmla="*/ 166066 w 168296"/>
                      <a:gd name="connsiteY43" fmla="*/ 86565 h 193138"/>
                      <a:gd name="connsiteX44" fmla="*/ 162643 w 168296"/>
                      <a:gd name="connsiteY44" fmla="*/ 80655 h 193138"/>
                      <a:gd name="connsiteX45" fmla="*/ 134319 w 168296"/>
                      <a:gd name="connsiteY45" fmla="*/ 73113 h 193138"/>
                      <a:gd name="connsiteX46" fmla="*/ 166008 w 168296"/>
                      <a:gd name="connsiteY46" fmla="*/ 54764 h 193138"/>
                      <a:gd name="connsiteX47" fmla="*/ 167574 w 168296"/>
                      <a:gd name="connsiteY47" fmla="*/ 48118 h 193138"/>
                      <a:gd name="connsiteX48" fmla="*/ 161179 w 168296"/>
                      <a:gd name="connsiteY48" fmla="*/ 46406 h 193138"/>
                      <a:gd name="connsiteX49" fmla="*/ 129490 w 168296"/>
                      <a:gd name="connsiteY49" fmla="*/ 64754 h 193138"/>
                      <a:gd name="connsiteX50" fmla="*/ 137032 w 168296"/>
                      <a:gd name="connsiteY50" fmla="*/ 36426 h 193138"/>
                      <a:gd name="connsiteX51" fmla="*/ 133582 w 168296"/>
                      <a:gd name="connsiteY51" fmla="*/ 30499 h 193138"/>
                      <a:gd name="connsiteX52" fmla="*/ 127656 w 168296"/>
                      <a:gd name="connsiteY52" fmla="*/ 33949 h 193138"/>
                      <a:gd name="connsiteX53" fmla="*/ 117627 w 168296"/>
                      <a:gd name="connsiteY53" fmla="*/ 71611 h 193138"/>
                      <a:gd name="connsiteX54" fmla="*/ 102132 w 168296"/>
                      <a:gd name="connsiteY54" fmla="*/ 80592 h 193138"/>
                      <a:gd name="connsiteX55" fmla="*/ 89028 w 168296"/>
                      <a:gd name="connsiteY55" fmla="*/ 72910 h 193138"/>
                      <a:gd name="connsiteX56" fmla="*/ 89028 w 168296"/>
                      <a:gd name="connsiteY56" fmla="*/ 55112 h 193138"/>
                      <a:gd name="connsiteX57" fmla="*/ 116584 w 168296"/>
                      <a:gd name="connsiteY57" fmla="*/ 27556 h 193138"/>
                      <a:gd name="connsiteX58" fmla="*/ 116465 w 168296"/>
                      <a:gd name="connsiteY58" fmla="*/ 20729 h 193138"/>
                      <a:gd name="connsiteX59" fmla="*/ 109756 w 168296"/>
                      <a:gd name="connsiteY59" fmla="*/ 20729 h 193138"/>
                      <a:gd name="connsiteX60" fmla="*/ 89028 w 168296"/>
                      <a:gd name="connsiteY60" fmla="*/ 41457 h 193138"/>
                      <a:gd name="connsiteX61" fmla="*/ 89028 w 168296"/>
                      <a:gd name="connsiteY61" fmla="*/ 4828 h 193138"/>
                      <a:gd name="connsiteX62" fmla="*/ 84199 w 168296"/>
                      <a:gd name="connsiteY62" fmla="*/ 0 h 193138"/>
                      <a:gd name="connsiteX63" fmla="*/ 79371 w 168296"/>
                      <a:gd name="connsiteY63" fmla="*/ 4828 h 193138"/>
                      <a:gd name="connsiteX64" fmla="*/ 79371 w 168296"/>
                      <a:gd name="connsiteY64" fmla="*/ 41457 h 193138"/>
                      <a:gd name="connsiteX65" fmla="*/ 58642 w 168296"/>
                      <a:gd name="connsiteY65" fmla="*/ 20729 h 193138"/>
                      <a:gd name="connsiteX66" fmla="*/ 51815 w 168296"/>
                      <a:gd name="connsiteY66" fmla="*/ 20847 h 193138"/>
                      <a:gd name="connsiteX67" fmla="*/ 51815 w 168296"/>
                      <a:gd name="connsiteY67" fmla="*/ 27556 h 193138"/>
                      <a:gd name="connsiteX68" fmla="*/ 79371 w 168296"/>
                      <a:gd name="connsiteY68" fmla="*/ 55112 h 193138"/>
                      <a:gd name="connsiteX69" fmla="*/ 79371 w 168296"/>
                      <a:gd name="connsiteY69" fmla="*/ 72910 h 193138"/>
                      <a:gd name="connsiteX70" fmla="*/ 66247 w 168296"/>
                      <a:gd name="connsiteY70" fmla="*/ 80582 h 193138"/>
                      <a:gd name="connsiteX71" fmla="*/ 50753 w 168296"/>
                      <a:gd name="connsiteY71" fmla="*/ 71601 h 193138"/>
                      <a:gd name="connsiteX72" fmla="*/ 40743 w 168296"/>
                      <a:gd name="connsiteY72" fmla="*/ 33949 h 193138"/>
                      <a:gd name="connsiteX73" fmla="*/ 34836 w 168296"/>
                      <a:gd name="connsiteY73" fmla="*/ 30523 h 193138"/>
                      <a:gd name="connsiteX74" fmla="*/ 31410 w 168296"/>
                      <a:gd name="connsiteY74" fmla="*/ 36431 h 193138"/>
                      <a:gd name="connsiteX75" fmla="*/ 38952 w 168296"/>
                      <a:gd name="connsiteY75" fmla="*/ 64759 h 193138"/>
                      <a:gd name="connsiteX76" fmla="*/ 7263 w 168296"/>
                      <a:gd name="connsiteY76" fmla="*/ 46411 h 193138"/>
                      <a:gd name="connsiteX77" fmla="*/ 723 w 168296"/>
                      <a:gd name="connsiteY77" fmla="*/ 48375 h 193138"/>
                      <a:gd name="connsiteX78" fmla="*/ 2434 w 168296"/>
                      <a:gd name="connsiteY78" fmla="*/ 54769 h 193138"/>
                      <a:gd name="connsiteX79" fmla="*/ 34123 w 168296"/>
                      <a:gd name="connsiteY79" fmla="*/ 73117 h 193138"/>
                      <a:gd name="connsiteX80" fmla="*/ 5766 w 168296"/>
                      <a:gd name="connsiteY80" fmla="*/ 80635 h 193138"/>
                      <a:gd name="connsiteX81" fmla="*/ 2343 w 168296"/>
                      <a:gd name="connsiteY81" fmla="*/ 86545 h 193138"/>
                      <a:gd name="connsiteX82" fmla="*/ 8253 w 168296"/>
                      <a:gd name="connsiteY82" fmla="*/ 89969 h 193138"/>
                      <a:gd name="connsiteX83" fmla="*/ 45915 w 168296"/>
                      <a:gd name="connsiteY83" fmla="*/ 79940 h 193138"/>
                      <a:gd name="connsiteX84" fmla="*/ 61419 w 168296"/>
                      <a:gd name="connsiteY84" fmla="*/ 88926 h 193138"/>
                      <a:gd name="connsiteX85" fmla="*/ 61419 w 168296"/>
                      <a:gd name="connsiteY85" fmla="*/ 104174 h 193138"/>
                      <a:gd name="connsiteX86" fmla="*/ 45905 w 168296"/>
                      <a:gd name="connsiteY86" fmla="*/ 113179 h 193138"/>
                      <a:gd name="connsiteX87" fmla="*/ 8243 w 168296"/>
                      <a:gd name="connsiteY87" fmla="*/ 103150 h 193138"/>
                      <a:gd name="connsiteX88" fmla="*/ 2333 w 168296"/>
                      <a:gd name="connsiteY88" fmla="*/ 106574 h 193138"/>
                      <a:gd name="connsiteX89" fmla="*/ 5756 w 168296"/>
                      <a:gd name="connsiteY89" fmla="*/ 112484 h 193138"/>
                      <a:gd name="connsiteX90" fmla="*/ 34080 w 168296"/>
                      <a:gd name="connsiteY90" fmla="*/ 120026 h 193138"/>
                      <a:gd name="connsiteX91" fmla="*/ 2391 w 168296"/>
                      <a:gd name="connsiteY91" fmla="*/ 138374 h 193138"/>
                      <a:gd name="connsiteX92" fmla="*/ 662 w 168296"/>
                      <a:gd name="connsiteY92" fmla="*/ 144980 h 193138"/>
                      <a:gd name="connsiteX93" fmla="*/ 667 w 168296"/>
                      <a:gd name="connsiteY93" fmla="*/ 144989 h 193138"/>
                      <a:gd name="connsiteX94" fmla="*/ 84199 w 168296"/>
                      <a:gd name="connsiteY94" fmla="*/ 82084 h 193138"/>
                      <a:gd name="connsiteX95" fmla="*/ 98685 w 168296"/>
                      <a:gd name="connsiteY95" fmla="*/ 96569 h 193138"/>
                      <a:gd name="connsiteX96" fmla="*/ 84199 w 168296"/>
                      <a:gd name="connsiteY96" fmla="*/ 111055 h 193138"/>
                      <a:gd name="connsiteX97" fmla="*/ 69714 w 168296"/>
                      <a:gd name="connsiteY97" fmla="*/ 96569 h 193138"/>
                      <a:gd name="connsiteX98" fmla="*/ 84199 w 168296"/>
                      <a:gd name="connsiteY98" fmla="*/ 82084 h 1931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</a:cxnLst>
                    <a:rect l="l" t="t" r="r" b="b"/>
                    <a:pathLst>
                      <a:path w="168296" h="193138">
                        <a:moveTo>
                          <a:pt x="667" y="144989"/>
                        </a:moveTo>
                        <a:cubicBezTo>
                          <a:pt x="2003" y="147296"/>
                          <a:pt x="4957" y="148084"/>
                          <a:pt x="7265" y="146748"/>
                        </a:cubicBezTo>
                        <a:cubicBezTo>
                          <a:pt x="7266" y="146747"/>
                          <a:pt x="7267" y="146747"/>
                          <a:pt x="7268" y="146747"/>
                        </a:cubicBezTo>
                        <a:lnTo>
                          <a:pt x="38957" y="128398"/>
                        </a:lnTo>
                        <a:lnTo>
                          <a:pt x="31415" y="156727"/>
                        </a:lnTo>
                        <a:cubicBezTo>
                          <a:pt x="30844" y="159332"/>
                          <a:pt x="32494" y="161906"/>
                          <a:pt x="35099" y="162476"/>
                        </a:cubicBezTo>
                        <a:cubicBezTo>
                          <a:pt x="37549" y="163012"/>
                          <a:pt x="40001" y="161584"/>
                          <a:pt x="40743" y="159189"/>
                        </a:cubicBezTo>
                        <a:lnTo>
                          <a:pt x="50772" y="121527"/>
                        </a:lnTo>
                        <a:lnTo>
                          <a:pt x="66266" y="112547"/>
                        </a:lnTo>
                        <a:cubicBezTo>
                          <a:pt x="69689" y="116456"/>
                          <a:pt x="74288" y="119151"/>
                          <a:pt x="79371" y="120229"/>
                        </a:cubicBezTo>
                        <a:lnTo>
                          <a:pt x="79371" y="138031"/>
                        </a:lnTo>
                        <a:lnTo>
                          <a:pt x="51815" y="165587"/>
                        </a:lnTo>
                        <a:cubicBezTo>
                          <a:pt x="49962" y="167506"/>
                          <a:pt x="50015" y="170562"/>
                          <a:pt x="51934" y="172415"/>
                        </a:cubicBezTo>
                        <a:cubicBezTo>
                          <a:pt x="53805" y="174222"/>
                          <a:pt x="56771" y="174222"/>
                          <a:pt x="58642" y="172415"/>
                        </a:cubicBezTo>
                        <a:lnTo>
                          <a:pt x="79371" y="151681"/>
                        </a:lnTo>
                        <a:lnTo>
                          <a:pt x="79371" y="188310"/>
                        </a:lnTo>
                        <a:cubicBezTo>
                          <a:pt x="79371" y="190977"/>
                          <a:pt x="81533" y="193138"/>
                          <a:pt x="84199" y="193138"/>
                        </a:cubicBezTo>
                        <a:cubicBezTo>
                          <a:pt x="86866" y="193138"/>
                          <a:pt x="89028" y="190977"/>
                          <a:pt x="89028" y="188310"/>
                        </a:cubicBezTo>
                        <a:lnTo>
                          <a:pt x="89028" y="151681"/>
                        </a:lnTo>
                        <a:lnTo>
                          <a:pt x="109756" y="172410"/>
                        </a:lnTo>
                        <a:cubicBezTo>
                          <a:pt x="111609" y="174328"/>
                          <a:pt x="114666" y="174381"/>
                          <a:pt x="116584" y="172529"/>
                        </a:cubicBezTo>
                        <a:cubicBezTo>
                          <a:pt x="118502" y="170676"/>
                          <a:pt x="118555" y="167619"/>
                          <a:pt x="116703" y="165701"/>
                        </a:cubicBezTo>
                        <a:cubicBezTo>
                          <a:pt x="116664" y="165661"/>
                          <a:pt x="116624" y="165621"/>
                          <a:pt x="116584" y="165582"/>
                        </a:cubicBezTo>
                        <a:lnTo>
                          <a:pt x="89028" y="138026"/>
                        </a:lnTo>
                        <a:lnTo>
                          <a:pt x="89028" y="120229"/>
                        </a:lnTo>
                        <a:cubicBezTo>
                          <a:pt x="94117" y="119158"/>
                          <a:pt x="98722" y="116466"/>
                          <a:pt x="102152" y="112556"/>
                        </a:cubicBezTo>
                        <a:lnTo>
                          <a:pt x="117646" y="121537"/>
                        </a:lnTo>
                        <a:lnTo>
                          <a:pt x="127656" y="159189"/>
                        </a:lnTo>
                        <a:cubicBezTo>
                          <a:pt x="128341" y="161767"/>
                          <a:pt x="130986" y="163300"/>
                          <a:pt x="133563" y="162615"/>
                        </a:cubicBezTo>
                        <a:cubicBezTo>
                          <a:pt x="136141" y="161930"/>
                          <a:pt x="137674" y="159285"/>
                          <a:pt x="136989" y="156708"/>
                        </a:cubicBezTo>
                        <a:lnTo>
                          <a:pt x="129447" y="128379"/>
                        </a:lnTo>
                        <a:lnTo>
                          <a:pt x="161136" y="146727"/>
                        </a:lnTo>
                        <a:cubicBezTo>
                          <a:pt x="163484" y="147991"/>
                          <a:pt x="166412" y="147112"/>
                          <a:pt x="167676" y="144763"/>
                        </a:cubicBezTo>
                        <a:cubicBezTo>
                          <a:pt x="168886" y="142515"/>
                          <a:pt x="168136" y="139712"/>
                          <a:pt x="165964" y="138369"/>
                        </a:cubicBezTo>
                        <a:lnTo>
                          <a:pt x="134275" y="120021"/>
                        </a:lnTo>
                        <a:lnTo>
                          <a:pt x="162633" y="112503"/>
                        </a:lnTo>
                        <a:cubicBezTo>
                          <a:pt x="165210" y="111816"/>
                          <a:pt x="166743" y="109170"/>
                          <a:pt x="166056" y="106593"/>
                        </a:cubicBezTo>
                        <a:cubicBezTo>
                          <a:pt x="165370" y="104016"/>
                          <a:pt x="162724" y="102483"/>
                          <a:pt x="160146" y="103170"/>
                        </a:cubicBezTo>
                        <a:lnTo>
                          <a:pt x="122484" y="113198"/>
                        </a:lnTo>
                        <a:lnTo>
                          <a:pt x="106990" y="104193"/>
                        </a:lnTo>
                        <a:cubicBezTo>
                          <a:pt x="108793" y="99270"/>
                          <a:pt x="108793" y="93868"/>
                          <a:pt x="106990" y="88945"/>
                        </a:cubicBezTo>
                        <a:lnTo>
                          <a:pt x="122494" y="79959"/>
                        </a:lnTo>
                        <a:lnTo>
                          <a:pt x="160156" y="89988"/>
                        </a:lnTo>
                        <a:cubicBezTo>
                          <a:pt x="162733" y="90675"/>
                          <a:pt x="165379" y="89142"/>
                          <a:pt x="166066" y="86565"/>
                        </a:cubicBezTo>
                        <a:cubicBezTo>
                          <a:pt x="166752" y="83987"/>
                          <a:pt x="165220" y="81341"/>
                          <a:pt x="162643" y="80655"/>
                        </a:cubicBezTo>
                        <a:lnTo>
                          <a:pt x="134319" y="73113"/>
                        </a:lnTo>
                        <a:lnTo>
                          <a:pt x="166008" y="54764"/>
                        </a:lnTo>
                        <a:cubicBezTo>
                          <a:pt x="168276" y="53361"/>
                          <a:pt x="168977" y="50385"/>
                          <a:pt x="167574" y="48118"/>
                        </a:cubicBezTo>
                        <a:cubicBezTo>
                          <a:pt x="166231" y="45946"/>
                          <a:pt x="163428" y="45196"/>
                          <a:pt x="161179" y="46406"/>
                        </a:cubicBezTo>
                        <a:lnTo>
                          <a:pt x="129490" y="64754"/>
                        </a:lnTo>
                        <a:lnTo>
                          <a:pt x="137032" y="36426"/>
                        </a:lnTo>
                        <a:cubicBezTo>
                          <a:pt x="137717" y="33836"/>
                          <a:pt x="136172" y="31183"/>
                          <a:pt x="133582" y="30499"/>
                        </a:cubicBezTo>
                        <a:cubicBezTo>
                          <a:pt x="130993" y="29815"/>
                          <a:pt x="128340" y="31359"/>
                          <a:pt x="127656" y="33949"/>
                        </a:cubicBezTo>
                        <a:lnTo>
                          <a:pt x="117627" y="71611"/>
                        </a:lnTo>
                        <a:lnTo>
                          <a:pt x="102132" y="80592"/>
                        </a:lnTo>
                        <a:cubicBezTo>
                          <a:pt x="98709" y="76682"/>
                          <a:pt x="94111" y="73987"/>
                          <a:pt x="89028" y="72910"/>
                        </a:cubicBezTo>
                        <a:lnTo>
                          <a:pt x="89028" y="55112"/>
                        </a:lnTo>
                        <a:lnTo>
                          <a:pt x="116584" y="27556"/>
                        </a:lnTo>
                        <a:cubicBezTo>
                          <a:pt x="118437" y="25638"/>
                          <a:pt x="118383" y="22581"/>
                          <a:pt x="116465" y="20729"/>
                        </a:cubicBezTo>
                        <a:cubicBezTo>
                          <a:pt x="114594" y="18921"/>
                          <a:pt x="111627" y="18921"/>
                          <a:pt x="109756" y="20729"/>
                        </a:cubicBezTo>
                        <a:lnTo>
                          <a:pt x="89028" y="41457"/>
                        </a:lnTo>
                        <a:lnTo>
                          <a:pt x="89028" y="4828"/>
                        </a:lnTo>
                        <a:cubicBezTo>
                          <a:pt x="89028" y="2162"/>
                          <a:pt x="86866" y="0"/>
                          <a:pt x="84199" y="0"/>
                        </a:cubicBezTo>
                        <a:cubicBezTo>
                          <a:pt x="81533" y="0"/>
                          <a:pt x="79371" y="2162"/>
                          <a:pt x="79371" y="4828"/>
                        </a:cubicBezTo>
                        <a:lnTo>
                          <a:pt x="79371" y="41457"/>
                        </a:lnTo>
                        <a:lnTo>
                          <a:pt x="58642" y="20729"/>
                        </a:lnTo>
                        <a:cubicBezTo>
                          <a:pt x="56724" y="18876"/>
                          <a:pt x="53668" y="18929"/>
                          <a:pt x="51815" y="20847"/>
                        </a:cubicBezTo>
                        <a:cubicBezTo>
                          <a:pt x="50008" y="22718"/>
                          <a:pt x="50008" y="25685"/>
                          <a:pt x="51815" y="27556"/>
                        </a:cubicBezTo>
                        <a:lnTo>
                          <a:pt x="79371" y="55112"/>
                        </a:lnTo>
                        <a:lnTo>
                          <a:pt x="79371" y="72910"/>
                        </a:lnTo>
                        <a:cubicBezTo>
                          <a:pt x="74282" y="73980"/>
                          <a:pt x="69677" y="76673"/>
                          <a:pt x="66247" y="80582"/>
                        </a:cubicBezTo>
                        <a:lnTo>
                          <a:pt x="50753" y="71601"/>
                        </a:lnTo>
                        <a:lnTo>
                          <a:pt x="40743" y="33949"/>
                        </a:lnTo>
                        <a:cubicBezTo>
                          <a:pt x="40058" y="31371"/>
                          <a:pt x="37413" y="29838"/>
                          <a:pt x="34836" y="30523"/>
                        </a:cubicBezTo>
                        <a:cubicBezTo>
                          <a:pt x="32258" y="31208"/>
                          <a:pt x="30725" y="33853"/>
                          <a:pt x="31410" y="36431"/>
                        </a:cubicBezTo>
                        <a:lnTo>
                          <a:pt x="38952" y="64759"/>
                        </a:lnTo>
                        <a:lnTo>
                          <a:pt x="7263" y="46411"/>
                        </a:lnTo>
                        <a:cubicBezTo>
                          <a:pt x="4915" y="45148"/>
                          <a:pt x="1986" y="46027"/>
                          <a:pt x="723" y="48375"/>
                        </a:cubicBezTo>
                        <a:cubicBezTo>
                          <a:pt x="-487" y="50623"/>
                          <a:pt x="262" y="53426"/>
                          <a:pt x="2434" y="54769"/>
                        </a:cubicBezTo>
                        <a:lnTo>
                          <a:pt x="34123" y="73117"/>
                        </a:lnTo>
                        <a:lnTo>
                          <a:pt x="5766" y="80635"/>
                        </a:lnTo>
                        <a:cubicBezTo>
                          <a:pt x="3188" y="81322"/>
                          <a:pt x="1656" y="83968"/>
                          <a:pt x="2343" y="86545"/>
                        </a:cubicBezTo>
                        <a:cubicBezTo>
                          <a:pt x="3029" y="89123"/>
                          <a:pt x="5675" y="90655"/>
                          <a:pt x="8253" y="89969"/>
                        </a:cubicBezTo>
                        <a:lnTo>
                          <a:pt x="45915" y="79940"/>
                        </a:lnTo>
                        <a:lnTo>
                          <a:pt x="61419" y="88926"/>
                        </a:lnTo>
                        <a:cubicBezTo>
                          <a:pt x="59616" y="93849"/>
                          <a:pt x="59616" y="99251"/>
                          <a:pt x="61419" y="104174"/>
                        </a:cubicBezTo>
                        <a:lnTo>
                          <a:pt x="45905" y="113179"/>
                        </a:lnTo>
                        <a:lnTo>
                          <a:pt x="8243" y="103150"/>
                        </a:lnTo>
                        <a:cubicBezTo>
                          <a:pt x="5665" y="102464"/>
                          <a:pt x="3019" y="103996"/>
                          <a:pt x="2333" y="106574"/>
                        </a:cubicBezTo>
                        <a:cubicBezTo>
                          <a:pt x="1646" y="109151"/>
                          <a:pt x="3179" y="111797"/>
                          <a:pt x="5756" y="112484"/>
                        </a:cubicBezTo>
                        <a:lnTo>
                          <a:pt x="34080" y="120026"/>
                        </a:lnTo>
                        <a:lnTo>
                          <a:pt x="2391" y="138374"/>
                        </a:lnTo>
                        <a:cubicBezTo>
                          <a:pt x="89" y="139721"/>
                          <a:pt x="-685" y="142678"/>
                          <a:pt x="662" y="144980"/>
                        </a:cubicBezTo>
                        <a:cubicBezTo>
                          <a:pt x="664" y="144983"/>
                          <a:pt x="665" y="144986"/>
                          <a:pt x="667" y="144989"/>
                        </a:cubicBezTo>
                        <a:close/>
                        <a:moveTo>
                          <a:pt x="84199" y="82084"/>
                        </a:moveTo>
                        <a:cubicBezTo>
                          <a:pt x="92200" y="82084"/>
                          <a:pt x="98685" y="88569"/>
                          <a:pt x="98685" y="96569"/>
                        </a:cubicBezTo>
                        <a:cubicBezTo>
                          <a:pt x="98685" y="104569"/>
                          <a:pt x="92200" y="111055"/>
                          <a:pt x="84199" y="111055"/>
                        </a:cubicBezTo>
                        <a:cubicBezTo>
                          <a:pt x="76199" y="111055"/>
                          <a:pt x="69714" y="104569"/>
                          <a:pt x="69714" y="96569"/>
                        </a:cubicBezTo>
                        <a:cubicBezTo>
                          <a:pt x="69714" y="88569"/>
                          <a:pt x="76199" y="82084"/>
                          <a:pt x="84199" y="82084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47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BE"/>
                  </a:p>
                </p:txBody>
              </p:sp>
            </p:grpSp>
          </p:grpSp>
          <p:pic>
            <p:nvPicPr>
              <p:cNvPr id="33" name="Graphic 32" descr="Washing Machine outline">
                <a:extLst>
                  <a:ext uri="{FF2B5EF4-FFF2-40B4-BE49-F238E27FC236}">
                    <a16:creationId xmlns:a16="http://schemas.microsoft.com/office/drawing/2014/main" id="{7DB6DEA5-7E4B-444D-A365-01C8CCD0F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flipV="1">
                <a:off x="382394" y="1464709"/>
                <a:ext cx="708992" cy="708992"/>
              </a:xfrm>
              <a:prstGeom prst="rect">
                <a:avLst/>
              </a:prstGeom>
            </p:spPr>
          </p:pic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367EB20-28D6-42DF-91B2-B2C71316A5EC}"/>
                  </a:ext>
                </a:extLst>
              </p:cNvPr>
              <p:cNvSpPr/>
              <p:nvPr/>
            </p:nvSpPr>
            <p:spPr>
              <a:xfrm>
                <a:off x="582242" y="1577289"/>
                <a:ext cx="324000" cy="3510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  <p:pic>
            <p:nvPicPr>
              <p:cNvPr id="32" name="Graphic 31" descr="Cooked turkey outline">
                <a:extLst>
                  <a:ext uri="{FF2B5EF4-FFF2-40B4-BE49-F238E27FC236}">
                    <a16:creationId xmlns:a16="http://schemas.microsoft.com/office/drawing/2014/main" id="{E43BC5C0-5ADA-4E78-9E4C-23FFE99C7F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32723" y="1534431"/>
                <a:ext cx="393882" cy="393882"/>
              </a:xfrm>
              <a:prstGeom prst="rect">
                <a:avLst/>
              </a:prstGeom>
            </p:spPr>
          </p:pic>
          <p:pic>
            <p:nvPicPr>
              <p:cNvPr id="36" name="Graphic 35" descr="Lamp with solid fill">
                <a:extLst>
                  <a:ext uri="{FF2B5EF4-FFF2-40B4-BE49-F238E27FC236}">
                    <a16:creationId xmlns:a16="http://schemas.microsoft.com/office/drawing/2014/main" id="{330AB7DE-B462-4C0A-8A0D-09CB12024F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050282" y="1469346"/>
                <a:ext cx="676275" cy="676275"/>
              </a:xfrm>
              <a:prstGeom prst="rect">
                <a:avLst/>
              </a:prstGeom>
            </p:spPr>
          </p:pic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3E34272A-38B0-4A89-856B-37B3BB24989A}"/>
                  </a:ext>
                </a:extLst>
              </p:cNvPr>
              <p:cNvGrpSpPr/>
              <p:nvPr/>
            </p:nvGrpSpPr>
            <p:grpSpPr>
              <a:xfrm>
                <a:off x="3740709" y="1966724"/>
                <a:ext cx="400050" cy="117066"/>
                <a:chOff x="7343775" y="2826159"/>
                <a:chExt cx="400050" cy="117066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ED436262-3BF4-468E-9B57-A46BC8AAEA93}"/>
                    </a:ext>
                  </a:extLst>
                </p:cNvPr>
                <p:cNvSpPr/>
                <p:nvPr/>
              </p:nvSpPr>
              <p:spPr>
                <a:xfrm>
                  <a:off x="7343775" y="2826159"/>
                  <a:ext cx="95250" cy="117066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/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0D7F739D-EA3A-4A61-9D08-706E2CC5C09F}"/>
                    </a:ext>
                  </a:extLst>
                </p:cNvPr>
                <p:cNvSpPr/>
                <p:nvPr/>
              </p:nvSpPr>
              <p:spPr>
                <a:xfrm>
                  <a:off x="7496175" y="2826159"/>
                  <a:ext cx="95250" cy="117066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/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5FBA619F-E7F6-46F4-BE92-0690F6E0F87A}"/>
                    </a:ext>
                  </a:extLst>
                </p:cNvPr>
                <p:cNvSpPr/>
                <p:nvPr/>
              </p:nvSpPr>
              <p:spPr>
                <a:xfrm>
                  <a:off x="7648575" y="2826159"/>
                  <a:ext cx="95250" cy="117066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/>
                </a:p>
              </p:txBody>
            </p:sp>
          </p:grp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70E861D-FA17-42FA-AB6F-7C52C03AB6EF}"/>
              </a:ext>
            </a:extLst>
          </p:cNvPr>
          <p:cNvGrpSpPr/>
          <p:nvPr/>
        </p:nvGrpSpPr>
        <p:grpSpPr>
          <a:xfrm>
            <a:off x="1739508" y="3228427"/>
            <a:ext cx="800100" cy="685799"/>
            <a:chOff x="1391164" y="3128546"/>
            <a:chExt cx="800100" cy="685799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481E11D-01D1-4E98-A608-AB7EBE04B785}"/>
                </a:ext>
              </a:extLst>
            </p:cNvPr>
            <p:cNvSpPr/>
            <p:nvPr/>
          </p:nvSpPr>
          <p:spPr>
            <a:xfrm>
              <a:off x="1391164" y="3128546"/>
              <a:ext cx="800100" cy="417194"/>
            </a:xfrm>
            <a:custGeom>
              <a:avLst/>
              <a:gdLst>
                <a:gd name="connsiteX0" fmla="*/ 628650 w 800100"/>
                <a:gd name="connsiteY0" fmla="*/ 217170 h 417194"/>
                <a:gd name="connsiteX1" fmla="*/ 628650 w 800100"/>
                <a:gd name="connsiteY1" fmla="*/ 57150 h 417194"/>
                <a:gd name="connsiteX2" fmla="*/ 552450 w 800100"/>
                <a:gd name="connsiteY2" fmla="*/ 57150 h 417194"/>
                <a:gd name="connsiteX3" fmla="*/ 552450 w 800100"/>
                <a:gd name="connsiteY3" fmla="*/ 144780 h 417194"/>
                <a:gd name="connsiteX4" fmla="*/ 400050 w 800100"/>
                <a:gd name="connsiteY4" fmla="*/ 0 h 417194"/>
                <a:gd name="connsiteX5" fmla="*/ 400050 w 800100"/>
                <a:gd name="connsiteY5" fmla="*/ 0 h 417194"/>
                <a:gd name="connsiteX6" fmla="*/ 0 w 800100"/>
                <a:gd name="connsiteY6" fmla="*/ 381000 h 417194"/>
                <a:gd name="connsiteX7" fmla="*/ 42863 w 800100"/>
                <a:gd name="connsiteY7" fmla="*/ 417195 h 417194"/>
                <a:gd name="connsiteX8" fmla="*/ 400050 w 800100"/>
                <a:gd name="connsiteY8" fmla="*/ 78105 h 417194"/>
                <a:gd name="connsiteX9" fmla="*/ 400050 w 800100"/>
                <a:gd name="connsiteY9" fmla="*/ 78105 h 417194"/>
                <a:gd name="connsiteX10" fmla="*/ 757238 w 800100"/>
                <a:gd name="connsiteY10" fmla="*/ 417195 h 417194"/>
                <a:gd name="connsiteX11" fmla="*/ 800100 w 800100"/>
                <a:gd name="connsiteY11" fmla="*/ 381000 h 41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0100" h="417194">
                  <a:moveTo>
                    <a:pt x="628650" y="217170"/>
                  </a:moveTo>
                  <a:lnTo>
                    <a:pt x="628650" y="57150"/>
                  </a:lnTo>
                  <a:lnTo>
                    <a:pt x="552450" y="57150"/>
                  </a:lnTo>
                  <a:lnTo>
                    <a:pt x="552450" y="144780"/>
                  </a:lnTo>
                  <a:lnTo>
                    <a:pt x="400050" y="0"/>
                  </a:lnTo>
                  <a:lnTo>
                    <a:pt x="400050" y="0"/>
                  </a:lnTo>
                  <a:lnTo>
                    <a:pt x="0" y="381000"/>
                  </a:lnTo>
                  <a:lnTo>
                    <a:pt x="42863" y="417195"/>
                  </a:lnTo>
                  <a:lnTo>
                    <a:pt x="400050" y="78105"/>
                  </a:lnTo>
                  <a:lnTo>
                    <a:pt x="400050" y="78105"/>
                  </a:lnTo>
                  <a:lnTo>
                    <a:pt x="757238" y="417195"/>
                  </a:lnTo>
                  <a:lnTo>
                    <a:pt x="800100" y="38100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BE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C41F6F8B-F7FF-4870-B5E1-A9AA5C6B786F}"/>
                </a:ext>
              </a:extLst>
            </p:cNvPr>
            <p:cNvSpPr/>
            <p:nvPr/>
          </p:nvSpPr>
          <p:spPr>
            <a:xfrm>
              <a:off x="1505464" y="3259990"/>
              <a:ext cx="571500" cy="554355"/>
            </a:xfrm>
            <a:custGeom>
              <a:avLst/>
              <a:gdLst>
                <a:gd name="connsiteX0" fmla="*/ 0 w 571500"/>
                <a:gd name="connsiteY0" fmla="*/ 271463 h 554355"/>
                <a:gd name="connsiteX1" fmla="*/ 0 w 571500"/>
                <a:gd name="connsiteY1" fmla="*/ 554355 h 554355"/>
                <a:gd name="connsiteX2" fmla="*/ 228600 w 571500"/>
                <a:gd name="connsiteY2" fmla="*/ 554355 h 554355"/>
                <a:gd name="connsiteX3" fmla="*/ 228600 w 571500"/>
                <a:gd name="connsiteY3" fmla="*/ 316230 h 554355"/>
                <a:gd name="connsiteX4" fmla="*/ 342900 w 571500"/>
                <a:gd name="connsiteY4" fmla="*/ 316230 h 554355"/>
                <a:gd name="connsiteX5" fmla="*/ 342900 w 571500"/>
                <a:gd name="connsiteY5" fmla="*/ 554355 h 554355"/>
                <a:gd name="connsiteX6" fmla="*/ 571500 w 571500"/>
                <a:gd name="connsiteY6" fmla="*/ 554355 h 554355"/>
                <a:gd name="connsiteX7" fmla="*/ 571500 w 571500"/>
                <a:gd name="connsiteY7" fmla="*/ 271463 h 554355"/>
                <a:gd name="connsiteX8" fmla="*/ 285750 w 571500"/>
                <a:gd name="connsiteY8" fmla="*/ 0 h 554355"/>
                <a:gd name="connsiteX9" fmla="*/ 0 w 571500"/>
                <a:gd name="connsiteY9" fmla="*/ 271463 h 554355"/>
                <a:gd name="connsiteX10" fmla="*/ 171450 w 571500"/>
                <a:gd name="connsiteY10" fmla="*/ 430530 h 554355"/>
                <a:gd name="connsiteX11" fmla="*/ 57150 w 571500"/>
                <a:gd name="connsiteY11" fmla="*/ 430530 h 554355"/>
                <a:gd name="connsiteX12" fmla="*/ 57150 w 571500"/>
                <a:gd name="connsiteY12" fmla="*/ 316230 h 554355"/>
                <a:gd name="connsiteX13" fmla="*/ 171450 w 571500"/>
                <a:gd name="connsiteY13" fmla="*/ 316230 h 554355"/>
                <a:gd name="connsiteX14" fmla="*/ 171450 w 571500"/>
                <a:gd name="connsiteY14" fmla="*/ 430530 h 554355"/>
                <a:gd name="connsiteX15" fmla="*/ 400050 w 571500"/>
                <a:gd name="connsiteY15" fmla="*/ 316230 h 554355"/>
                <a:gd name="connsiteX16" fmla="*/ 514350 w 571500"/>
                <a:gd name="connsiteY16" fmla="*/ 316230 h 554355"/>
                <a:gd name="connsiteX17" fmla="*/ 514350 w 571500"/>
                <a:gd name="connsiteY17" fmla="*/ 430530 h 554355"/>
                <a:gd name="connsiteX18" fmla="*/ 400050 w 571500"/>
                <a:gd name="connsiteY18" fmla="*/ 430530 h 554355"/>
                <a:gd name="connsiteX19" fmla="*/ 400050 w 571500"/>
                <a:gd name="connsiteY19" fmla="*/ 316230 h 55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0" h="554355">
                  <a:moveTo>
                    <a:pt x="0" y="271463"/>
                  </a:moveTo>
                  <a:lnTo>
                    <a:pt x="0" y="554355"/>
                  </a:lnTo>
                  <a:lnTo>
                    <a:pt x="228600" y="554355"/>
                  </a:lnTo>
                  <a:lnTo>
                    <a:pt x="228600" y="316230"/>
                  </a:lnTo>
                  <a:lnTo>
                    <a:pt x="342900" y="316230"/>
                  </a:lnTo>
                  <a:lnTo>
                    <a:pt x="342900" y="554355"/>
                  </a:lnTo>
                  <a:lnTo>
                    <a:pt x="571500" y="554355"/>
                  </a:lnTo>
                  <a:lnTo>
                    <a:pt x="571500" y="271463"/>
                  </a:lnTo>
                  <a:lnTo>
                    <a:pt x="285750" y="0"/>
                  </a:lnTo>
                  <a:lnTo>
                    <a:pt x="0" y="271463"/>
                  </a:lnTo>
                  <a:close/>
                  <a:moveTo>
                    <a:pt x="171450" y="430530"/>
                  </a:moveTo>
                  <a:lnTo>
                    <a:pt x="57150" y="430530"/>
                  </a:lnTo>
                  <a:lnTo>
                    <a:pt x="57150" y="316230"/>
                  </a:lnTo>
                  <a:lnTo>
                    <a:pt x="171450" y="316230"/>
                  </a:lnTo>
                  <a:lnTo>
                    <a:pt x="171450" y="430530"/>
                  </a:lnTo>
                  <a:close/>
                  <a:moveTo>
                    <a:pt x="400050" y="316230"/>
                  </a:moveTo>
                  <a:lnTo>
                    <a:pt x="514350" y="316230"/>
                  </a:lnTo>
                  <a:lnTo>
                    <a:pt x="514350" y="430530"/>
                  </a:lnTo>
                  <a:lnTo>
                    <a:pt x="400050" y="430530"/>
                  </a:lnTo>
                  <a:lnTo>
                    <a:pt x="400050" y="31623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BE" dirty="0"/>
            </a:p>
          </p:txBody>
        </p:sp>
      </p:grp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F3DBA97E-6277-4650-9B93-15D49AFA4368}"/>
              </a:ext>
            </a:extLst>
          </p:cNvPr>
          <p:cNvSpPr/>
          <p:nvPr/>
        </p:nvSpPr>
        <p:spPr>
          <a:xfrm>
            <a:off x="4419600" y="3311725"/>
            <a:ext cx="1047750" cy="51920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042B5F9-00BF-426D-A9CA-4175ED855E9E}"/>
              </a:ext>
            </a:extLst>
          </p:cNvPr>
          <p:cNvSpPr txBox="1"/>
          <p:nvPr/>
        </p:nvSpPr>
        <p:spPr>
          <a:xfrm>
            <a:off x="5697663" y="3155829"/>
            <a:ext cx="53418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800" dirty="0"/>
              <a:t>10 kW de puissance contractuelle</a:t>
            </a:r>
          </a:p>
          <a:p>
            <a:r>
              <a:rPr lang="fr-BE" sz="2000" dirty="0"/>
              <a:t>(On utilise pas tous les appareils en même temps)</a:t>
            </a:r>
            <a:endParaRPr lang="fr-BE" dirty="0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2907179-8AB8-4E67-BB5C-56F7CB8B6CE0}"/>
              </a:ext>
            </a:extLst>
          </p:cNvPr>
          <p:cNvGrpSpPr/>
          <p:nvPr/>
        </p:nvGrpSpPr>
        <p:grpSpPr>
          <a:xfrm>
            <a:off x="355124" y="4186543"/>
            <a:ext cx="11786551" cy="830997"/>
            <a:chOff x="355124" y="4186543"/>
            <a:chExt cx="11786551" cy="830997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FE7696C-C1EF-4BC5-A510-6103B0DC00E2}"/>
                </a:ext>
              </a:extLst>
            </p:cNvPr>
            <p:cNvSpPr txBox="1"/>
            <p:nvPr/>
          </p:nvSpPr>
          <p:spPr>
            <a:xfrm>
              <a:off x="5744430" y="4186543"/>
              <a:ext cx="639724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2800" dirty="0"/>
                <a:t>3 kW au moment de la pointe</a:t>
              </a:r>
            </a:p>
            <a:p>
              <a:r>
                <a:rPr lang="fr-BE" sz="2000" dirty="0"/>
                <a:t>(les voisins dans un quartier n’ont pas les mêmes habitudes)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E355B4A9-FE9A-44D4-B2AA-F4C34D771DC2}"/>
                </a:ext>
              </a:extLst>
            </p:cNvPr>
            <p:cNvSpPr/>
            <p:nvPr/>
          </p:nvSpPr>
          <p:spPr>
            <a:xfrm>
              <a:off x="4419600" y="4342439"/>
              <a:ext cx="1047750" cy="51920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CA5C2BA-E672-4024-A817-310DF9364AE8}"/>
                </a:ext>
              </a:extLst>
            </p:cNvPr>
            <p:cNvGrpSpPr/>
            <p:nvPr/>
          </p:nvGrpSpPr>
          <p:grpSpPr>
            <a:xfrm>
              <a:off x="355124" y="4190338"/>
              <a:ext cx="3212229" cy="823407"/>
              <a:chOff x="1050449" y="3700968"/>
              <a:chExt cx="3212229" cy="823407"/>
            </a:xfrm>
          </p:grpSpPr>
          <p:pic>
            <p:nvPicPr>
              <p:cNvPr id="6" name="Content Placeholder 4" descr="House with solid fill">
                <a:extLst>
                  <a:ext uri="{FF2B5EF4-FFF2-40B4-BE49-F238E27FC236}">
                    <a16:creationId xmlns:a16="http://schemas.microsoft.com/office/drawing/2014/main" id="{28E381B8-E84E-440E-968F-808BD53E61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808115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7" name="Content Placeholder 4" descr="House with solid fill">
                <a:extLst>
                  <a:ext uri="{FF2B5EF4-FFF2-40B4-BE49-F238E27FC236}">
                    <a16:creationId xmlns:a16="http://schemas.microsoft.com/office/drawing/2014/main" id="{23625A2A-7B32-4BC2-92A9-D08C477F4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206321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8" name="Content Placeholder 4" descr="House with solid fill">
                <a:extLst>
                  <a:ext uri="{FF2B5EF4-FFF2-40B4-BE49-F238E27FC236}">
                    <a16:creationId xmlns:a16="http://schemas.microsoft.com/office/drawing/2014/main" id="{889AB7A2-DBAF-4662-9D5D-1F424E8B47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604527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9" name="Content Placeholder 4" descr="House with solid fill">
                <a:extLst>
                  <a:ext uri="{FF2B5EF4-FFF2-40B4-BE49-F238E27FC236}">
                    <a16:creationId xmlns:a16="http://schemas.microsoft.com/office/drawing/2014/main" id="{A795150A-25D0-40C8-A679-40F8109A14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002733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10" name="Content Placeholder 4" descr="House with solid fill">
                <a:extLst>
                  <a:ext uri="{FF2B5EF4-FFF2-40B4-BE49-F238E27FC236}">
                    <a16:creationId xmlns:a16="http://schemas.microsoft.com/office/drawing/2014/main" id="{9C265686-8ED6-48E8-8174-0FE9E1B075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400939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11" name="Content Placeholder 4" descr="House with solid fill">
                <a:extLst>
                  <a:ext uri="{FF2B5EF4-FFF2-40B4-BE49-F238E27FC236}">
                    <a16:creationId xmlns:a16="http://schemas.microsoft.com/office/drawing/2014/main" id="{846F5946-5999-476C-BD31-BB8A2E57D0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799147" y="3700968"/>
                <a:ext cx="463531" cy="463531"/>
              </a:xfrm>
              <a:prstGeom prst="rect">
                <a:avLst/>
              </a:prstGeom>
            </p:spPr>
          </p:pic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673F66EF-F3F9-4FEA-87AB-DA77A20BC08A}"/>
                  </a:ext>
                </a:extLst>
              </p:cNvPr>
              <p:cNvSpPr/>
              <p:nvPr/>
            </p:nvSpPr>
            <p:spPr>
              <a:xfrm>
                <a:off x="1050449" y="4158169"/>
                <a:ext cx="359458" cy="366206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9126944-B653-4D91-B99D-8C4D16FE83AB}"/>
                  </a:ext>
                </a:extLst>
              </p:cNvPr>
              <p:cNvSpPr/>
              <p:nvPr/>
            </p:nvSpPr>
            <p:spPr>
              <a:xfrm>
                <a:off x="1202849" y="4158169"/>
                <a:ext cx="359458" cy="366206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  <p:cxnSp>
            <p:nvCxnSpPr>
              <p:cNvPr id="51" name="Connector: Elbow 50">
                <a:extLst>
                  <a:ext uri="{FF2B5EF4-FFF2-40B4-BE49-F238E27FC236}">
                    <a16:creationId xmlns:a16="http://schemas.microsoft.com/office/drawing/2014/main" id="{18E41B59-AD7E-4B07-8438-0EB1E16851D3}"/>
                  </a:ext>
                </a:extLst>
              </p:cNvPr>
              <p:cNvCxnSpPr>
                <a:stCxn id="11" idx="2"/>
                <a:endCxn id="49" idx="6"/>
              </p:cNvCxnSpPr>
              <p:nvPr/>
            </p:nvCxnSpPr>
            <p:spPr>
              <a:xfrm rot="5400000">
                <a:off x="2708224" y="3018582"/>
                <a:ext cx="176773" cy="2468606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Connector: Elbow 51">
                <a:extLst>
                  <a:ext uri="{FF2B5EF4-FFF2-40B4-BE49-F238E27FC236}">
                    <a16:creationId xmlns:a16="http://schemas.microsoft.com/office/drawing/2014/main" id="{9E06B90E-2EA3-4394-8B05-8743C6EE8CA8}"/>
                  </a:ext>
                </a:extLst>
              </p:cNvPr>
              <p:cNvCxnSpPr>
                <a:cxnSpLocks/>
                <a:stCxn id="10" idx="2"/>
                <a:endCxn id="49" idx="6"/>
              </p:cNvCxnSpPr>
              <p:nvPr/>
            </p:nvCxnSpPr>
            <p:spPr>
              <a:xfrm rot="5400000">
                <a:off x="2509120" y="3217686"/>
                <a:ext cx="176773" cy="2070398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nector: Elbow 54">
                <a:extLst>
                  <a:ext uri="{FF2B5EF4-FFF2-40B4-BE49-F238E27FC236}">
                    <a16:creationId xmlns:a16="http://schemas.microsoft.com/office/drawing/2014/main" id="{F7DE92D3-012B-430F-BCAD-F27A29414DA5}"/>
                  </a:ext>
                </a:extLst>
              </p:cNvPr>
              <p:cNvCxnSpPr>
                <a:cxnSpLocks/>
                <a:stCxn id="9" idx="2"/>
                <a:endCxn id="49" idx="6"/>
              </p:cNvCxnSpPr>
              <p:nvPr/>
            </p:nvCxnSpPr>
            <p:spPr>
              <a:xfrm rot="5400000">
                <a:off x="2310017" y="3416789"/>
                <a:ext cx="176773" cy="1672192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nector: Elbow 57">
                <a:extLst>
                  <a:ext uri="{FF2B5EF4-FFF2-40B4-BE49-F238E27FC236}">
                    <a16:creationId xmlns:a16="http://schemas.microsoft.com/office/drawing/2014/main" id="{0C2F441E-9124-476F-8E0B-0163BA07B723}"/>
                  </a:ext>
                </a:extLst>
              </p:cNvPr>
              <p:cNvCxnSpPr>
                <a:cxnSpLocks/>
                <a:stCxn id="8" idx="2"/>
                <a:endCxn id="49" idx="6"/>
              </p:cNvCxnSpPr>
              <p:nvPr/>
            </p:nvCxnSpPr>
            <p:spPr>
              <a:xfrm rot="5400000">
                <a:off x="2110914" y="3615892"/>
                <a:ext cx="176773" cy="1273986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Connector: Elbow 60">
                <a:extLst>
                  <a:ext uri="{FF2B5EF4-FFF2-40B4-BE49-F238E27FC236}">
                    <a16:creationId xmlns:a16="http://schemas.microsoft.com/office/drawing/2014/main" id="{B2A98137-974C-4C46-B143-B6DA6D1BBB21}"/>
                  </a:ext>
                </a:extLst>
              </p:cNvPr>
              <p:cNvCxnSpPr>
                <a:cxnSpLocks/>
                <a:stCxn id="7" idx="2"/>
                <a:endCxn id="49" idx="6"/>
              </p:cNvCxnSpPr>
              <p:nvPr/>
            </p:nvCxnSpPr>
            <p:spPr>
              <a:xfrm rot="5400000">
                <a:off x="1911811" y="3814995"/>
                <a:ext cx="176773" cy="875780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Connector: Elbow 63">
                <a:extLst>
                  <a:ext uri="{FF2B5EF4-FFF2-40B4-BE49-F238E27FC236}">
                    <a16:creationId xmlns:a16="http://schemas.microsoft.com/office/drawing/2014/main" id="{10FC9163-58D2-4B77-853E-322C6870604F}"/>
                  </a:ext>
                </a:extLst>
              </p:cNvPr>
              <p:cNvCxnSpPr>
                <a:cxnSpLocks/>
                <a:stCxn id="6" idx="2"/>
                <a:endCxn id="49" idx="6"/>
              </p:cNvCxnSpPr>
              <p:nvPr/>
            </p:nvCxnSpPr>
            <p:spPr>
              <a:xfrm rot="5400000">
                <a:off x="1712708" y="4014098"/>
                <a:ext cx="176773" cy="477574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C016AB11-5353-4A19-9E61-F1FF11D44BE6}"/>
              </a:ext>
            </a:extLst>
          </p:cNvPr>
          <p:cNvSpPr txBox="1"/>
          <p:nvPr/>
        </p:nvSpPr>
        <p:spPr>
          <a:xfrm>
            <a:off x="714582" y="1295400"/>
            <a:ext cx="37050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800" dirty="0"/>
              <a:t>Classiquement :</a:t>
            </a:r>
          </a:p>
        </p:txBody>
      </p:sp>
    </p:spTree>
    <p:extLst>
      <p:ext uri="{BB962C8B-B14F-4D97-AF65-F5344CB8AC3E}">
        <p14:creationId xmlns:p14="http://schemas.microsoft.com/office/powerpoint/2010/main" val="2820515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4EEA1ED-A4FA-43B5-83B4-3392B7E07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ffets sur le réseau BT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4EA43D7-44BE-47E6-8C79-92D3C4F03F15}"/>
              </a:ext>
            </a:extLst>
          </p:cNvPr>
          <p:cNvGrpSpPr/>
          <p:nvPr/>
        </p:nvGrpSpPr>
        <p:grpSpPr>
          <a:xfrm>
            <a:off x="383251" y="1986843"/>
            <a:ext cx="10790002" cy="969269"/>
            <a:chOff x="383251" y="1986843"/>
            <a:chExt cx="10790002" cy="969269"/>
          </a:xfrm>
        </p:grpSpPr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0A176547-B315-46A3-AC78-3033B048E155}"/>
                </a:ext>
              </a:extLst>
            </p:cNvPr>
            <p:cNvSpPr/>
            <p:nvPr/>
          </p:nvSpPr>
          <p:spPr>
            <a:xfrm>
              <a:off x="4419600" y="2211875"/>
              <a:ext cx="1047750" cy="51920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2B502A1-68A4-4871-9EAD-1883092D5533}"/>
                </a:ext>
              </a:extLst>
            </p:cNvPr>
            <p:cNvSpPr txBox="1"/>
            <p:nvPr/>
          </p:nvSpPr>
          <p:spPr>
            <a:xfrm>
              <a:off x="5563885" y="1994424"/>
              <a:ext cx="560936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2800" dirty="0"/>
                <a:t>15 kW = la somme de la puissance des appareils dans une habitation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9BCF51A-95BB-4B4F-9677-2FE9342A1C8F}"/>
                </a:ext>
              </a:extLst>
            </p:cNvPr>
            <p:cNvGrpSpPr/>
            <p:nvPr/>
          </p:nvGrpSpPr>
          <p:grpSpPr>
            <a:xfrm>
              <a:off x="383251" y="1986843"/>
              <a:ext cx="3758365" cy="969269"/>
              <a:chOff x="382394" y="1280082"/>
              <a:chExt cx="3758365" cy="969269"/>
            </a:xfrm>
          </p:grpSpPr>
          <p:pic>
            <p:nvPicPr>
              <p:cNvPr id="13" name="Graphic 12" descr="Washing Machine outline">
                <a:extLst>
                  <a:ext uri="{FF2B5EF4-FFF2-40B4-BE49-F238E27FC236}">
                    <a16:creationId xmlns:a16="http://schemas.microsoft.com/office/drawing/2014/main" id="{95A4F44A-027C-4F08-91D0-FC6724E3B9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205684" y="1464709"/>
                <a:ext cx="708992" cy="708992"/>
              </a:xfrm>
              <a:prstGeom prst="rect">
                <a:avLst/>
              </a:prstGeom>
            </p:spPr>
          </p:pic>
          <p:pic>
            <p:nvPicPr>
              <p:cNvPr id="15" name="Graphic 14" descr="Monitor with solid fill">
                <a:extLst>
                  <a:ext uri="{FF2B5EF4-FFF2-40B4-BE49-F238E27FC236}">
                    <a16:creationId xmlns:a16="http://schemas.microsoft.com/office/drawing/2014/main" id="{1BB190DA-BCF8-42CF-B0C8-1472ABA51F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56737" y="1611557"/>
                <a:ext cx="566596" cy="566596"/>
              </a:xfrm>
              <a:prstGeom prst="rect">
                <a:avLst/>
              </a:prstGeom>
            </p:spPr>
          </p:pic>
          <p:pic>
            <p:nvPicPr>
              <p:cNvPr id="20" name="Graphic 19" descr="Computer with solid fill">
                <a:extLst>
                  <a:ext uri="{FF2B5EF4-FFF2-40B4-BE49-F238E27FC236}">
                    <a16:creationId xmlns:a16="http://schemas.microsoft.com/office/drawing/2014/main" id="{3E00C0D8-15FF-425E-8BFD-E513EA2E21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2455117" y="1540359"/>
                <a:ext cx="708992" cy="708992"/>
              </a:xfrm>
              <a:prstGeom prst="rect">
                <a:avLst/>
              </a:prstGeom>
            </p:spPr>
          </p:pic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3DF8AC6-A3FE-488C-8AB2-B9D008C38691}"/>
                  </a:ext>
                </a:extLst>
              </p:cNvPr>
              <p:cNvGrpSpPr/>
              <p:nvPr/>
            </p:nvGrpSpPr>
            <p:grpSpPr>
              <a:xfrm>
                <a:off x="864000" y="1280082"/>
                <a:ext cx="566596" cy="914400"/>
                <a:chOff x="3419719" y="1424889"/>
                <a:chExt cx="566596" cy="914400"/>
              </a:xfrm>
            </p:grpSpPr>
            <p:pic>
              <p:nvPicPr>
                <p:cNvPr id="18" name="Graphic 17" descr="Washing Machine outline">
                  <a:extLst>
                    <a:ext uri="{FF2B5EF4-FFF2-40B4-BE49-F238E27FC236}">
                      <a16:creationId xmlns:a16="http://schemas.microsoft.com/office/drawing/2014/main" id="{2EE4E1F1-756C-4811-8CFC-9304B832CB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19719" y="1424889"/>
                  <a:ext cx="566596" cy="914400"/>
                </a:xfrm>
                <a:prstGeom prst="rect">
                  <a:avLst/>
                </a:prstGeom>
              </p:spPr>
            </p:pic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161A4704-43C9-45CF-B1CE-8693F77BDC2E}"/>
                    </a:ext>
                  </a:extLst>
                </p:cNvPr>
                <p:cNvSpPr/>
                <p:nvPr/>
              </p:nvSpPr>
              <p:spPr>
                <a:xfrm>
                  <a:off x="3567161" y="1691148"/>
                  <a:ext cx="267420" cy="52541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 dirty="0"/>
                </a:p>
              </p:txBody>
            </p:sp>
            <p:grpSp>
              <p:nvGrpSpPr>
                <p:cNvPr id="21" name="Graphic 16" descr="Low temperature outline">
                  <a:extLst>
                    <a:ext uri="{FF2B5EF4-FFF2-40B4-BE49-F238E27FC236}">
                      <a16:creationId xmlns:a16="http://schemas.microsoft.com/office/drawing/2014/main" id="{819B8BDE-B2AC-43F5-8697-632F3BC28FFA}"/>
                    </a:ext>
                  </a:extLst>
                </p:cNvPr>
                <p:cNvGrpSpPr/>
                <p:nvPr/>
              </p:nvGrpSpPr>
              <p:grpSpPr>
                <a:xfrm>
                  <a:off x="3530738" y="1799303"/>
                  <a:ext cx="341750" cy="305976"/>
                  <a:chOff x="3746763" y="2490224"/>
                  <a:chExt cx="416080" cy="367015"/>
                </a:xfrm>
                <a:solidFill>
                  <a:srgbClr val="000000"/>
                </a:solidFill>
              </p:grpSpPr>
              <p:sp>
                <p:nvSpPr>
                  <p:cNvPr id="22" name="Freeform: Shape 21">
                    <a:extLst>
                      <a:ext uri="{FF2B5EF4-FFF2-40B4-BE49-F238E27FC236}">
                        <a16:creationId xmlns:a16="http://schemas.microsoft.com/office/drawing/2014/main" id="{2CB7BF25-08B1-447B-9AD5-21173663AA24}"/>
                      </a:ext>
                    </a:extLst>
                  </p:cNvPr>
                  <p:cNvSpPr/>
                  <p:nvPr/>
                </p:nvSpPr>
                <p:spPr>
                  <a:xfrm>
                    <a:off x="3746763" y="2490224"/>
                    <a:ext cx="416080" cy="367015"/>
                  </a:xfrm>
                  <a:custGeom>
                    <a:avLst/>
                    <a:gdLst>
                      <a:gd name="connsiteX0" fmla="*/ 9660 w 416080"/>
                      <a:gd name="connsiteY0" fmla="*/ 364428 h 367015"/>
                      <a:gd name="connsiteX1" fmla="*/ 19316 w 416080"/>
                      <a:gd name="connsiteY1" fmla="*/ 367016 h 367015"/>
                      <a:gd name="connsiteX2" fmla="*/ 396786 w 416080"/>
                      <a:gd name="connsiteY2" fmla="*/ 367016 h 367015"/>
                      <a:gd name="connsiteX3" fmla="*/ 416080 w 416080"/>
                      <a:gd name="connsiteY3" fmla="*/ 347682 h 367015"/>
                      <a:gd name="connsiteX4" fmla="*/ 413493 w 416080"/>
                      <a:gd name="connsiteY4" fmla="*/ 338045 h 367015"/>
                      <a:gd name="connsiteX5" fmla="*/ 224796 w 416080"/>
                      <a:gd name="connsiteY5" fmla="*/ 9710 h 367015"/>
                      <a:gd name="connsiteX6" fmla="*/ 198434 w 416080"/>
                      <a:gd name="connsiteY6" fmla="*/ 2562 h 367015"/>
                      <a:gd name="connsiteX7" fmla="*/ 191287 w 416080"/>
                      <a:gd name="connsiteY7" fmla="*/ 9710 h 367015"/>
                      <a:gd name="connsiteX8" fmla="*/ 2591 w 416080"/>
                      <a:gd name="connsiteY8" fmla="*/ 338045 h 367015"/>
                      <a:gd name="connsiteX9" fmla="*/ 9660 w 416080"/>
                      <a:gd name="connsiteY9" fmla="*/ 364428 h 367015"/>
                      <a:gd name="connsiteX10" fmla="*/ 10963 w 416080"/>
                      <a:gd name="connsiteY10" fmla="*/ 342873 h 367015"/>
                      <a:gd name="connsiteX11" fmla="*/ 199664 w 416080"/>
                      <a:gd name="connsiteY11" fmla="*/ 14538 h 367015"/>
                      <a:gd name="connsiteX12" fmla="*/ 203237 w 416080"/>
                      <a:gd name="connsiteY12" fmla="*/ 10965 h 367015"/>
                      <a:gd name="connsiteX13" fmla="*/ 208042 w 416080"/>
                      <a:gd name="connsiteY13" fmla="*/ 9657 h 367015"/>
                      <a:gd name="connsiteX14" fmla="*/ 216424 w 416080"/>
                      <a:gd name="connsiteY14" fmla="*/ 14538 h 367015"/>
                      <a:gd name="connsiteX15" fmla="*/ 405130 w 416080"/>
                      <a:gd name="connsiteY15" fmla="*/ 342873 h 367015"/>
                      <a:gd name="connsiteX16" fmla="*/ 401595 w 416080"/>
                      <a:gd name="connsiteY16" fmla="*/ 356065 h 367015"/>
                      <a:gd name="connsiteX17" fmla="*/ 396786 w 416080"/>
                      <a:gd name="connsiteY17" fmla="*/ 357359 h 367015"/>
                      <a:gd name="connsiteX18" fmla="*/ 19307 w 416080"/>
                      <a:gd name="connsiteY18" fmla="*/ 357359 h 367015"/>
                      <a:gd name="connsiteX19" fmla="*/ 9669 w 416080"/>
                      <a:gd name="connsiteY19" fmla="*/ 347683 h 367015"/>
                      <a:gd name="connsiteX20" fmla="*/ 10963 w 416080"/>
                      <a:gd name="connsiteY20" fmla="*/ 342873 h 3670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416080" h="367015">
                        <a:moveTo>
                          <a:pt x="9660" y="364428"/>
                        </a:moveTo>
                        <a:cubicBezTo>
                          <a:pt x="12596" y="366121"/>
                          <a:pt x="15926" y="367014"/>
                          <a:pt x="19316" y="367016"/>
                        </a:cubicBezTo>
                        <a:lnTo>
                          <a:pt x="396786" y="367016"/>
                        </a:lnTo>
                        <a:cubicBezTo>
                          <a:pt x="407453" y="367005"/>
                          <a:pt x="416091" y="358349"/>
                          <a:pt x="416080" y="347682"/>
                        </a:cubicBezTo>
                        <a:cubicBezTo>
                          <a:pt x="416077" y="344298"/>
                          <a:pt x="415184" y="340975"/>
                          <a:pt x="413493" y="338045"/>
                        </a:cubicBezTo>
                        <a:lnTo>
                          <a:pt x="224796" y="9710"/>
                        </a:lnTo>
                        <a:cubicBezTo>
                          <a:pt x="219490" y="456"/>
                          <a:pt x="207688" y="-2744"/>
                          <a:pt x="198434" y="2562"/>
                        </a:cubicBezTo>
                        <a:cubicBezTo>
                          <a:pt x="195460" y="4268"/>
                          <a:pt x="192993" y="6735"/>
                          <a:pt x="191287" y="9710"/>
                        </a:cubicBezTo>
                        <a:lnTo>
                          <a:pt x="2591" y="338045"/>
                        </a:lnTo>
                        <a:cubicBezTo>
                          <a:pt x="-2742" y="347282"/>
                          <a:pt x="422" y="359094"/>
                          <a:pt x="9660" y="364428"/>
                        </a:cubicBezTo>
                        <a:close/>
                        <a:moveTo>
                          <a:pt x="10963" y="342873"/>
                        </a:moveTo>
                        <a:lnTo>
                          <a:pt x="199664" y="14538"/>
                        </a:lnTo>
                        <a:cubicBezTo>
                          <a:pt x="200515" y="13050"/>
                          <a:pt x="201749" y="11816"/>
                          <a:pt x="203237" y="10965"/>
                        </a:cubicBezTo>
                        <a:cubicBezTo>
                          <a:pt x="204694" y="10109"/>
                          <a:pt x="206352" y="9657"/>
                          <a:pt x="208042" y="9657"/>
                        </a:cubicBezTo>
                        <a:cubicBezTo>
                          <a:pt x="211507" y="9669"/>
                          <a:pt x="214703" y="11530"/>
                          <a:pt x="216424" y="14538"/>
                        </a:cubicBezTo>
                        <a:lnTo>
                          <a:pt x="405130" y="342873"/>
                        </a:lnTo>
                        <a:cubicBezTo>
                          <a:pt x="407796" y="347492"/>
                          <a:pt x="406214" y="353398"/>
                          <a:pt x="401595" y="356065"/>
                        </a:cubicBezTo>
                        <a:cubicBezTo>
                          <a:pt x="400133" y="356909"/>
                          <a:pt x="398475" y="357355"/>
                          <a:pt x="396786" y="357359"/>
                        </a:cubicBezTo>
                        <a:lnTo>
                          <a:pt x="19307" y="357359"/>
                        </a:lnTo>
                        <a:cubicBezTo>
                          <a:pt x="13973" y="357348"/>
                          <a:pt x="9659" y="353016"/>
                          <a:pt x="9669" y="347683"/>
                        </a:cubicBezTo>
                        <a:cubicBezTo>
                          <a:pt x="9673" y="345994"/>
                          <a:pt x="10119" y="344335"/>
                          <a:pt x="10963" y="342873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47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BE"/>
                  </a:p>
                </p:txBody>
              </p:sp>
              <p:sp>
                <p:nvSpPr>
                  <p:cNvPr id="23" name="Freeform: Shape 22">
                    <a:extLst>
                      <a:ext uri="{FF2B5EF4-FFF2-40B4-BE49-F238E27FC236}">
                        <a16:creationId xmlns:a16="http://schemas.microsoft.com/office/drawing/2014/main" id="{03B19385-A23D-4522-A927-CC89F7AC7D93}"/>
                      </a:ext>
                    </a:extLst>
                  </p:cNvPr>
                  <p:cNvSpPr/>
                  <p:nvPr/>
                </p:nvSpPr>
                <p:spPr>
                  <a:xfrm>
                    <a:off x="3879039" y="2615817"/>
                    <a:ext cx="168296" cy="193138"/>
                  </a:xfrm>
                  <a:custGeom>
                    <a:avLst/>
                    <a:gdLst>
                      <a:gd name="connsiteX0" fmla="*/ 667 w 168296"/>
                      <a:gd name="connsiteY0" fmla="*/ 144989 h 193138"/>
                      <a:gd name="connsiteX1" fmla="*/ 7265 w 168296"/>
                      <a:gd name="connsiteY1" fmla="*/ 146748 h 193138"/>
                      <a:gd name="connsiteX2" fmla="*/ 7268 w 168296"/>
                      <a:gd name="connsiteY2" fmla="*/ 146747 h 193138"/>
                      <a:gd name="connsiteX3" fmla="*/ 38957 w 168296"/>
                      <a:gd name="connsiteY3" fmla="*/ 128398 h 193138"/>
                      <a:gd name="connsiteX4" fmla="*/ 31415 w 168296"/>
                      <a:gd name="connsiteY4" fmla="*/ 156727 h 193138"/>
                      <a:gd name="connsiteX5" fmla="*/ 35099 w 168296"/>
                      <a:gd name="connsiteY5" fmla="*/ 162476 h 193138"/>
                      <a:gd name="connsiteX6" fmla="*/ 40743 w 168296"/>
                      <a:gd name="connsiteY6" fmla="*/ 159189 h 193138"/>
                      <a:gd name="connsiteX7" fmla="*/ 50772 w 168296"/>
                      <a:gd name="connsiteY7" fmla="*/ 121527 h 193138"/>
                      <a:gd name="connsiteX8" fmla="*/ 66266 w 168296"/>
                      <a:gd name="connsiteY8" fmla="*/ 112547 h 193138"/>
                      <a:gd name="connsiteX9" fmla="*/ 79371 w 168296"/>
                      <a:gd name="connsiteY9" fmla="*/ 120229 h 193138"/>
                      <a:gd name="connsiteX10" fmla="*/ 79371 w 168296"/>
                      <a:gd name="connsiteY10" fmla="*/ 138031 h 193138"/>
                      <a:gd name="connsiteX11" fmla="*/ 51815 w 168296"/>
                      <a:gd name="connsiteY11" fmla="*/ 165587 h 193138"/>
                      <a:gd name="connsiteX12" fmla="*/ 51934 w 168296"/>
                      <a:gd name="connsiteY12" fmla="*/ 172415 h 193138"/>
                      <a:gd name="connsiteX13" fmla="*/ 58642 w 168296"/>
                      <a:gd name="connsiteY13" fmla="*/ 172415 h 193138"/>
                      <a:gd name="connsiteX14" fmla="*/ 79371 w 168296"/>
                      <a:gd name="connsiteY14" fmla="*/ 151681 h 193138"/>
                      <a:gd name="connsiteX15" fmla="*/ 79371 w 168296"/>
                      <a:gd name="connsiteY15" fmla="*/ 188310 h 193138"/>
                      <a:gd name="connsiteX16" fmla="*/ 84199 w 168296"/>
                      <a:gd name="connsiteY16" fmla="*/ 193138 h 193138"/>
                      <a:gd name="connsiteX17" fmla="*/ 89028 w 168296"/>
                      <a:gd name="connsiteY17" fmla="*/ 188310 h 193138"/>
                      <a:gd name="connsiteX18" fmla="*/ 89028 w 168296"/>
                      <a:gd name="connsiteY18" fmla="*/ 151681 h 193138"/>
                      <a:gd name="connsiteX19" fmla="*/ 109756 w 168296"/>
                      <a:gd name="connsiteY19" fmla="*/ 172410 h 193138"/>
                      <a:gd name="connsiteX20" fmla="*/ 116584 w 168296"/>
                      <a:gd name="connsiteY20" fmla="*/ 172529 h 193138"/>
                      <a:gd name="connsiteX21" fmla="*/ 116703 w 168296"/>
                      <a:gd name="connsiteY21" fmla="*/ 165701 h 193138"/>
                      <a:gd name="connsiteX22" fmla="*/ 116584 w 168296"/>
                      <a:gd name="connsiteY22" fmla="*/ 165582 h 193138"/>
                      <a:gd name="connsiteX23" fmla="*/ 89028 w 168296"/>
                      <a:gd name="connsiteY23" fmla="*/ 138026 h 193138"/>
                      <a:gd name="connsiteX24" fmla="*/ 89028 w 168296"/>
                      <a:gd name="connsiteY24" fmla="*/ 120229 h 193138"/>
                      <a:gd name="connsiteX25" fmla="*/ 102152 w 168296"/>
                      <a:gd name="connsiteY25" fmla="*/ 112556 h 193138"/>
                      <a:gd name="connsiteX26" fmla="*/ 117646 w 168296"/>
                      <a:gd name="connsiteY26" fmla="*/ 121537 h 193138"/>
                      <a:gd name="connsiteX27" fmla="*/ 127656 w 168296"/>
                      <a:gd name="connsiteY27" fmla="*/ 159189 h 193138"/>
                      <a:gd name="connsiteX28" fmla="*/ 133563 w 168296"/>
                      <a:gd name="connsiteY28" fmla="*/ 162615 h 193138"/>
                      <a:gd name="connsiteX29" fmla="*/ 136989 w 168296"/>
                      <a:gd name="connsiteY29" fmla="*/ 156708 h 193138"/>
                      <a:gd name="connsiteX30" fmla="*/ 129447 w 168296"/>
                      <a:gd name="connsiteY30" fmla="*/ 128379 h 193138"/>
                      <a:gd name="connsiteX31" fmla="*/ 161136 w 168296"/>
                      <a:gd name="connsiteY31" fmla="*/ 146727 h 193138"/>
                      <a:gd name="connsiteX32" fmla="*/ 167676 w 168296"/>
                      <a:gd name="connsiteY32" fmla="*/ 144763 h 193138"/>
                      <a:gd name="connsiteX33" fmla="*/ 165964 w 168296"/>
                      <a:gd name="connsiteY33" fmla="*/ 138369 h 193138"/>
                      <a:gd name="connsiteX34" fmla="*/ 134275 w 168296"/>
                      <a:gd name="connsiteY34" fmla="*/ 120021 h 193138"/>
                      <a:gd name="connsiteX35" fmla="*/ 162633 w 168296"/>
                      <a:gd name="connsiteY35" fmla="*/ 112503 h 193138"/>
                      <a:gd name="connsiteX36" fmla="*/ 166056 w 168296"/>
                      <a:gd name="connsiteY36" fmla="*/ 106593 h 193138"/>
                      <a:gd name="connsiteX37" fmla="*/ 160146 w 168296"/>
                      <a:gd name="connsiteY37" fmla="*/ 103170 h 193138"/>
                      <a:gd name="connsiteX38" fmla="*/ 122484 w 168296"/>
                      <a:gd name="connsiteY38" fmla="*/ 113198 h 193138"/>
                      <a:gd name="connsiteX39" fmla="*/ 106990 w 168296"/>
                      <a:gd name="connsiteY39" fmla="*/ 104193 h 193138"/>
                      <a:gd name="connsiteX40" fmla="*/ 106990 w 168296"/>
                      <a:gd name="connsiteY40" fmla="*/ 88945 h 193138"/>
                      <a:gd name="connsiteX41" fmla="*/ 122494 w 168296"/>
                      <a:gd name="connsiteY41" fmla="*/ 79959 h 193138"/>
                      <a:gd name="connsiteX42" fmla="*/ 160156 w 168296"/>
                      <a:gd name="connsiteY42" fmla="*/ 89988 h 193138"/>
                      <a:gd name="connsiteX43" fmla="*/ 166066 w 168296"/>
                      <a:gd name="connsiteY43" fmla="*/ 86565 h 193138"/>
                      <a:gd name="connsiteX44" fmla="*/ 162643 w 168296"/>
                      <a:gd name="connsiteY44" fmla="*/ 80655 h 193138"/>
                      <a:gd name="connsiteX45" fmla="*/ 134319 w 168296"/>
                      <a:gd name="connsiteY45" fmla="*/ 73113 h 193138"/>
                      <a:gd name="connsiteX46" fmla="*/ 166008 w 168296"/>
                      <a:gd name="connsiteY46" fmla="*/ 54764 h 193138"/>
                      <a:gd name="connsiteX47" fmla="*/ 167574 w 168296"/>
                      <a:gd name="connsiteY47" fmla="*/ 48118 h 193138"/>
                      <a:gd name="connsiteX48" fmla="*/ 161179 w 168296"/>
                      <a:gd name="connsiteY48" fmla="*/ 46406 h 193138"/>
                      <a:gd name="connsiteX49" fmla="*/ 129490 w 168296"/>
                      <a:gd name="connsiteY49" fmla="*/ 64754 h 193138"/>
                      <a:gd name="connsiteX50" fmla="*/ 137032 w 168296"/>
                      <a:gd name="connsiteY50" fmla="*/ 36426 h 193138"/>
                      <a:gd name="connsiteX51" fmla="*/ 133582 w 168296"/>
                      <a:gd name="connsiteY51" fmla="*/ 30499 h 193138"/>
                      <a:gd name="connsiteX52" fmla="*/ 127656 w 168296"/>
                      <a:gd name="connsiteY52" fmla="*/ 33949 h 193138"/>
                      <a:gd name="connsiteX53" fmla="*/ 117627 w 168296"/>
                      <a:gd name="connsiteY53" fmla="*/ 71611 h 193138"/>
                      <a:gd name="connsiteX54" fmla="*/ 102132 w 168296"/>
                      <a:gd name="connsiteY54" fmla="*/ 80592 h 193138"/>
                      <a:gd name="connsiteX55" fmla="*/ 89028 w 168296"/>
                      <a:gd name="connsiteY55" fmla="*/ 72910 h 193138"/>
                      <a:gd name="connsiteX56" fmla="*/ 89028 w 168296"/>
                      <a:gd name="connsiteY56" fmla="*/ 55112 h 193138"/>
                      <a:gd name="connsiteX57" fmla="*/ 116584 w 168296"/>
                      <a:gd name="connsiteY57" fmla="*/ 27556 h 193138"/>
                      <a:gd name="connsiteX58" fmla="*/ 116465 w 168296"/>
                      <a:gd name="connsiteY58" fmla="*/ 20729 h 193138"/>
                      <a:gd name="connsiteX59" fmla="*/ 109756 w 168296"/>
                      <a:gd name="connsiteY59" fmla="*/ 20729 h 193138"/>
                      <a:gd name="connsiteX60" fmla="*/ 89028 w 168296"/>
                      <a:gd name="connsiteY60" fmla="*/ 41457 h 193138"/>
                      <a:gd name="connsiteX61" fmla="*/ 89028 w 168296"/>
                      <a:gd name="connsiteY61" fmla="*/ 4828 h 193138"/>
                      <a:gd name="connsiteX62" fmla="*/ 84199 w 168296"/>
                      <a:gd name="connsiteY62" fmla="*/ 0 h 193138"/>
                      <a:gd name="connsiteX63" fmla="*/ 79371 w 168296"/>
                      <a:gd name="connsiteY63" fmla="*/ 4828 h 193138"/>
                      <a:gd name="connsiteX64" fmla="*/ 79371 w 168296"/>
                      <a:gd name="connsiteY64" fmla="*/ 41457 h 193138"/>
                      <a:gd name="connsiteX65" fmla="*/ 58642 w 168296"/>
                      <a:gd name="connsiteY65" fmla="*/ 20729 h 193138"/>
                      <a:gd name="connsiteX66" fmla="*/ 51815 w 168296"/>
                      <a:gd name="connsiteY66" fmla="*/ 20847 h 193138"/>
                      <a:gd name="connsiteX67" fmla="*/ 51815 w 168296"/>
                      <a:gd name="connsiteY67" fmla="*/ 27556 h 193138"/>
                      <a:gd name="connsiteX68" fmla="*/ 79371 w 168296"/>
                      <a:gd name="connsiteY68" fmla="*/ 55112 h 193138"/>
                      <a:gd name="connsiteX69" fmla="*/ 79371 w 168296"/>
                      <a:gd name="connsiteY69" fmla="*/ 72910 h 193138"/>
                      <a:gd name="connsiteX70" fmla="*/ 66247 w 168296"/>
                      <a:gd name="connsiteY70" fmla="*/ 80582 h 193138"/>
                      <a:gd name="connsiteX71" fmla="*/ 50753 w 168296"/>
                      <a:gd name="connsiteY71" fmla="*/ 71601 h 193138"/>
                      <a:gd name="connsiteX72" fmla="*/ 40743 w 168296"/>
                      <a:gd name="connsiteY72" fmla="*/ 33949 h 193138"/>
                      <a:gd name="connsiteX73" fmla="*/ 34836 w 168296"/>
                      <a:gd name="connsiteY73" fmla="*/ 30523 h 193138"/>
                      <a:gd name="connsiteX74" fmla="*/ 31410 w 168296"/>
                      <a:gd name="connsiteY74" fmla="*/ 36431 h 193138"/>
                      <a:gd name="connsiteX75" fmla="*/ 38952 w 168296"/>
                      <a:gd name="connsiteY75" fmla="*/ 64759 h 193138"/>
                      <a:gd name="connsiteX76" fmla="*/ 7263 w 168296"/>
                      <a:gd name="connsiteY76" fmla="*/ 46411 h 193138"/>
                      <a:gd name="connsiteX77" fmla="*/ 723 w 168296"/>
                      <a:gd name="connsiteY77" fmla="*/ 48375 h 193138"/>
                      <a:gd name="connsiteX78" fmla="*/ 2434 w 168296"/>
                      <a:gd name="connsiteY78" fmla="*/ 54769 h 193138"/>
                      <a:gd name="connsiteX79" fmla="*/ 34123 w 168296"/>
                      <a:gd name="connsiteY79" fmla="*/ 73117 h 193138"/>
                      <a:gd name="connsiteX80" fmla="*/ 5766 w 168296"/>
                      <a:gd name="connsiteY80" fmla="*/ 80635 h 193138"/>
                      <a:gd name="connsiteX81" fmla="*/ 2343 w 168296"/>
                      <a:gd name="connsiteY81" fmla="*/ 86545 h 193138"/>
                      <a:gd name="connsiteX82" fmla="*/ 8253 w 168296"/>
                      <a:gd name="connsiteY82" fmla="*/ 89969 h 193138"/>
                      <a:gd name="connsiteX83" fmla="*/ 45915 w 168296"/>
                      <a:gd name="connsiteY83" fmla="*/ 79940 h 193138"/>
                      <a:gd name="connsiteX84" fmla="*/ 61419 w 168296"/>
                      <a:gd name="connsiteY84" fmla="*/ 88926 h 193138"/>
                      <a:gd name="connsiteX85" fmla="*/ 61419 w 168296"/>
                      <a:gd name="connsiteY85" fmla="*/ 104174 h 193138"/>
                      <a:gd name="connsiteX86" fmla="*/ 45905 w 168296"/>
                      <a:gd name="connsiteY86" fmla="*/ 113179 h 193138"/>
                      <a:gd name="connsiteX87" fmla="*/ 8243 w 168296"/>
                      <a:gd name="connsiteY87" fmla="*/ 103150 h 193138"/>
                      <a:gd name="connsiteX88" fmla="*/ 2333 w 168296"/>
                      <a:gd name="connsiteY88" fmla="*/ 106574 h 193138"/>
                      <a:gd name="connsiteX89" fmla="*/ 5756 w 168296"/>
                      <a:gd name="connsiteY89" fmla="*/ 112484 h 193138"/>
                      <a:gd name="connsiteX90" fmla="*/ 34080 w 168296"/>
                      <a:gd name="connsiteY90" fmla="*/ 120026 h 193138"/>
                      <a:gd name="connsiteX91" fmla="*/ 2391 w 168296"/>
                      <a:gd name="connsiteY91" fmla="*/ 138374 h 193138"/>
                      <a:gd name="connsiteX92" fmla="*/ 662 w 168296"/>
                      <a:gd name="connsiteY92" fmla="*/ 144980 h 193138"/>
                      <a:gd name="connsiteX93" fmla="*/ 667 w 168296"/>
                      <a:gd name="connsiteY93" fmla="*/ 144989 h 193138"/>
                      <a:gd name="connsiteX94" fmla="*/ 84199 w 168296"/>
                      <a:gd name="connsiteY94" fmla="*/ 82084 h 193138"/>
                      <a:gd name="connsiteX95" fmla="*/ 98685 w 168296"/>
                      <a:gd name="connsiteY95" fmla="*/ 96569 h 193138"/>
                      <a:gd name="connsiteX96" fmla="*/ 84199 w 168296"/>
                      <a:gd name="connsiteY96" fmla="*/ 111055 h 193138"/>
                      <a:gd name="connsiteX97" fmla="*/ 69714 w 168296"/>
                      <a:gd name="connsiteY97" fmla="*/ 96569 h 193138"/>
                      <a:gd name="connsiteX98" fmla="*/ 84199 w 168296"/>
                      <a:gd name="connsiteY98" fmla="*/ 82084 h 1931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</a:cxnLst>
                    <a:rect l="l" t="t" r="r" b="b"/>
                    <a:pathLst>
                      <a:path w="168296" h="193138">
                        <a:moveTo>
                          <a:pt x="667" y="144989"/>
                        </a:moveTo>
                        <a:cubicBezTo>
                          <a:pt x="2003" y="147296"/>
                          <a:pt x="4957" y="148084"/>
                          <a:pt x="7265" y="146748"/>
                        </a:cubicBezTo>
                        <a:cubicBezTo>
                          <a:pt x="7266" y="146747"/>
                          <a:pt x="7267" y="146747"/>
                          <a:pt x="7268" y="146747"/>
                        </a:cubicBezTo>
                        <a:lnTo>
                          <a:pt x="38957" y="128398"/>
                        </a:lnTo>
                        <a:lnTo>
                          <a:pt x="31415" y="156727"/>
                        </a:lnTo>
                        <a:cubicBezTo>
                          <a:pt x="30844" y="159332"/>
                          <a:pt x="32494" y="161906"/>
                          <a:pt x="35099" y="162476"/>
                        </a:cubicBezTo>
                        <a:cubicBezTo>
                          <a:pt x="37549" y="163012"/>
                          <a:pt x="40001" y="161584"/>
                          <a:pt x="40743" y="159189"/>
                        </a:cubicBezTo>
                        <a:lnTo>
                          <a:pt x="50772" y="121527"/>
                        </a:lnTo>
                        <a:lnTo>
                          <a:pt x="66266" y="112547"/>
                        </a:lnTo>
                        <a:cubicBezTo>
                          <a:pt x="69689" y="116456"/>
                          <a:pt x="74288" y="119151"/>
                          <a:pt x="79371" y="120229"/>
                        </a:cubicBezTo>
                        <a:lnTo>
                          <a:pt x="79371" y="138031"/>
                        </a:lnTo>
                        <a:lnTo>
                          <a:pt x="51815" y="165587"/>
                        </a:lnTo>
                        <a:cubicBezTo>
                          <a:pt x="49962" y="167506"/>
                          <a:pt x="50015" y="170562"/>
                          <a:pt x="51934" y="172415"/>
                        </a:cubicBezTo>
                        <a:cubicBezTo>
                          <a:pt x="53805" y="174222"/>
                          <a:pt x="56771" y="174222"/>
                          <a:pt x="58642" y="172415"/>
                        </a:cubicBezTo>
                        <a:lnTo>
                          <a:pt x="79371" y="151681"/>
                        </a:lnTo>
                        <a:lnTo>
                          <a:pt x="79371" y="188310"/>
                        </a:lnTo>
                        <a:cubicBezTo>
                          <a:pt x="79371" y="190977"/>
                          <a:pt x="81533" y="193138"/>
                          <a:pt x="84199" y="193138"/>
                        </a:cubicBezTo>
                        <a:cubicBezTo>
                          <a:pt x="86866" y="193138"/>
                          <a:pt x="89028" y="190977"/>
                          <a:pt x="89028" y="188310"/>
                        </a:cubicBezTo>
                        <a:lnTo>
                          <a:pt x="89028" y="151681"/>
                        </a:lnTo>
                        <a:lnTo>
                          <a:pt x="109756" y="172410"/>
                        </a:lnTo>
                        <a:cubicBezTo>
                          <a:pt x="111609" y="174328"/>
                          <a:pt x="114666" y="174381"/>
                          <a:pt x="116584" y="172529"/>
                        </a:cubicBezTo>
                        <a:cubicBezTo>
                          <a:pt x="118502" y="170676"/>
                          <a:pt x="118555" y="167619"/>
                          <a:pt x="116703" y="165701"/>
                        </a:cubicBezTo>
                        <a:cubicBezTo>
                          <a:pt x="116664" y="165661"/>
                          <a:pt x="116624" y="165621"/>
                          <a:pt x="116584" y="165582"/>
                        </a:cubicBezTo>
                        <a:lnTo>
                          <a:pt x="89028" y="138026"/>
                        </a:lnTo>
                        <a:lnTo>
                          <a:pt x="89028" y="120229"/>
                        </a:lnTo>
                        <a:cubicBezTo>
                          <a:pt x="94117" y="119158"/>
                          <a:pt x="98722" y="116466"/>
                          <a:pt x="102152" y="112556"/>
                        </a:cubicBezTo>
                        <a:lnTo>
                          <a:pt x="117646" y="121537"/>
                        </a:lnTo>
                        <a:lnTo>
                          <a:pt x="127656" y="159189"/>
                        </a:lnTo>
                        <a:cubicBezTo>
                          <a:pt x="128341" y="161767"/>
                          <a:pt x="130986" y="163300"/>
                          <a:pt x="133563" y="162615"/>
                        </a:cubicBezTo>
                        <a:cubicBezTo>
                          <a:pt x="136141" y="161930"/>
                          <a:pt x="137674" y="159285"/>
                          <a:pt x="136989" y="156708"/>
                        </a:cubicBezTo>
                        <a:lnTo>
                          <a:pt x="129447" y="128379"/>
                        </a:lnTo>
                        <a:lnTo>
                          <a:pt x="161136" y="146727"/>
                        </a:lnTo>
                        <a:cubicBezTo>
                          <a:pt x="163484" y="147991"/>
                          <a:pt x="166412" y="147112"/>
                          <a:pt x="167676" y="144763"/>
                        </a:cubicBezTo>
                        <a:cubicBezTo>
                          <a:pt x="168886" y="142515"/>
                          <a:pt x="168136" y="139712"/>
                          <a:pt x="165964" y="138369"/>
                        </a:cubicBezTo>
                        <a:lnTo>
                          <a:pt x="134275" y="120021"/>
                        </a:lnTo>
                        <a:lnTo>
                          <a:pt x="162633" y="112503"/>
                        </a:lnTo>
                        <a:cubicBezTo>
                          <a:pt x="165210" y="111816"/>
                          <a:pt x="166743" y="109170"/>
                          <a:pt x="166056" y="106593"/>
                        </a:cubicBezTo>
                        <a:cubicBezTo>
                          <a:pt x="165370" y="104016"/>
                          <a:pt x="162724" y="102483"/>
                          <a:pt x="160146" y="103170"/>
                        </a:cubicBezTo>
                        <a:lnTo>
                          <a:pt x="122484" y="113198"/>
                        </a:lnTo>
                        <a:lnTo>
                          <a:pt x="106990" y="104193"/>
                        </a:lnTo>
                        <a:cubicBezTo>
                          <a:pt x="108793" y="99270"/>
                          <a:pt x="108793" y="93868"/>
                          <a:pt x="106990" y="88945"/>
                        </a:cubicBezTo>
                        <a:lnTo>
                          <a:pt x="122494" y="79959"/>
                        </a:lnTo>
                        <a:lnTo>
                          <a:pt x="160156" y="89988"/>
                        </a:lnTo>
                        <a:cubicBezTo>
                          <a:pt x="162733" y="90675"/>
                          <a:pt x="165379" y="89142"/>
                          <a:pt x="166066" y="86565"/>
                        </a:cubicBezTo>
                        <a:cubicBezTo>
                          <a:pt x="166752" y="83987"/>
                          <a:pt x="165220" y="81341"/>
                          <a:pt x="162643" y="80655"/>
                        </a:cubicBezTo>
                        <a:lnTo>
                          <a:pt x="134319" y="73113"/>
                        </a:lnTo>
                        <a:lnTo>
                          <a:pt x="166008" y="54764"/>
                        </a:lnTo>
                        <a:cubicBezTo>
                          <a:pt x="168276" y="53361"/>
                          <a:pt x="168977" y="50385"/>
                          <a:pt x="167574" y="48118"/>
                        </a:cubicBezTo>
                        <a:cubicBezTo>
                          <a:pt x="166231" y="45946"/>
                          <a:pt x="163428" y="45196"/>
                          <a:pt x="161179" y="46406"/>
                        </a:cubicBezTo>
                        <a:lnTo>
                          <a:pt x="129490" y="64754"/>
                        </a:lnTo>
                        <a:lnTo>
                          <a:pt x="137032" y="36426"/>
                        </a:lnTo>
                        <a:cubicBezTo>
                          <a:pt x="137717" y="33836"/>
                          <a:pt x="136172" y="31183"/>
                          <a:pt x="133582" y="30499"/>
                        </a:cubicBezTo>
                        <a:cubicBezTo>
                          <a:pt x="130993" y="29815"/>
                          <a:pt x="128340" y="31359"/>
                          <a:pt x="127656" y="33949"/>
                        </a:cubicBezTo>
                        <a:lnTo>
                          <a:pt x="117627" y="71611"/>
                        </a:lnTo>
                        <a:lnTo>
                          <a:pt x="102132" y="80592"/>
                        </a:lnTo>
                        <a:cubicBezTo>
                          <a:pt x="98709" y="76682"/>
                          <a:pt x="94111" y="73987"/>
                          <a:pt x="89028" y="72910"/>
                        </a:cubicBezTo>
                        <a:lnTo>
                          <a:pt x="89028" y="55112"/>
                        </a:lnTo>
                        <a:lnTo>
                          <a:pt x="116584" y="27556"/>
                        </a:lnTo>
                        <a:cubicBezTo>
                          <a:pt x="118437" y="25638"/>
                          <a:pt x="118383" y="22581"/>
                          <a:pt x="116465" y="20729"/>
                        </a:cubicBezTo>
                        <a:cubicBezTo>
                          <a:pt x="114594" y="18921"/>
                          <a:pt x="111627" y="18921"/>
                          <a:pt x="109756" y="20729"/>
                        </a:cubicBezTo>
                        <a:lnTo>
                          <a:pt x="89028" y="41457"/>
                        </a:lnTo>
                        <a:lnTo>
                          <a:pt x="89028" y="4828"/>
                        </a:lnTo>
                        <a:cubicBezTo>
                          <a:pt x="89028" y="2162"/>
                          <a:pt x="86866" y="0"/>
                          <a:pt x="84199" y="0"/>
                        </a:cubicBezTo>
                        <a:cubicBezTo>
                          <a:pt x="81533" y="0"/>
                          <a:pt x="79371" y="2162"/>
                          <a:pt x="79371" y="4828"/>
                        </a:cubicBezTo>
                        <a:lnTo>
                          <a:pt x="79371" y="41457"/>
                        </a:lnTo>
                        <a:lnTo>
                          <a:pt x="58642" y="20729"/>
                        </a:lnTo>
                        <a:cubicBezTo>
                          <a:pt x="56724" y="18876"/>
                          <a:pt x="53668" y="18929"/>
                          <a:pt x="51815" y="20847"/>
                        </a:cubicBezTo>
                        <a:cubicBezTo>
                          <a:pt x="50008" y="22718"/>
                          <a:pt x="50008" y="25685"/>
                          <a:pt x="51815" y="27556"/>
                        </a:cubicBezTo>
                        <a:lnTo>
                          <a:pt x="79371" y="55112"/>
                        </a:lnTo>
                        <a:lnTo>
                          <a:pt x="79371" y="72910"/>
                        </a:lnTo>
                        <a:cubicBezTo>
                          <a:pt x="74282" y="73980"/>
                          <a:pt x="69677" y="76673"/>
                          <a:pt x="66247" y="80582"/>
                        </a:cubicBezTo>
                        <a:lnTo>
                          <a:pt x="50753" y="71601"/>
                        </a:lnTo>
                        <a:lnTo>
                          <a:pt x="40743" y="33949"/>
                        </a:lnTo>
                        <a:cubicBezTo>
                          <a:pt x="40058" y="31371"/>
                          <a:pt x="37413" y="29838"/>
                          <a:pt x="34836" y="30523"/>
                        </a:cubicBezTo>
                        <a:cubicBezTo>
                          <a:pt x="32258" y="31208"/>
                          <a:pt x="30725" y="33853"/>
                          <a:pt x="31410" y="36431"/>
                        </a:cubicBezTo>
                        <a:lnTo>
                          <a:pt x="38952" y="64759"/>
                        </a:lnTo>
                        <a:lnTo>
                          <a:pt x="7263" y="46411"/>
                        </a:lnTo>
                        <a:cubicBezTo>
                          <a:pt x="4915" y="45148"/>
                          <a:pt x="1986" y="46027"/>
                          <a:pt x="723" y="48375"/>
                        </a:cubicBezTo>
                        <a:cubicBezTo>
                          <a:pt x="-487" y="50623"/>
                          <a:pt x="262" y="53426"/>
                          <a:pt x="2434" y="54769"/>
                        </a:cubicBezTo>
                        <a:lnTo>
                          <a:pt x="34123" y="73117"/>
                        </a:lnTo>
                        <a:lnTo>
                          <a:pt x="5766" y="80635"/>
                        </a:lnTo>
                        <a:cubicBezTo>
                          <a:pt x="3188" y="81322"/>
                          <a:pt x="1656" y="83968"/>
                          <a:pt x="2343" y="86545"/>
                        </a:cubicBezTo>
                        <a:cubicBezTo>
                          <a:pt x="3029" y="89123"/>
                          <a:pt x="5675" y="90655"/>
                          <a:pt x="8253" y="89969"/>
                        </a:cubicBezTo>
                        <a:lnTo>
                          <a:pt x="45915" y="79940"/>
                        </a:lnTo>
                        <a:lnTo>
                          <a:pt x="61419" y="88926"/>
                        </a:lnTo>
                        <a:cubicBezTo>
                          <a:pt x="59616" y="93849"/>
                          <a:pt x="59616" y="99251"/>
                          <a:pt x="61419" y="104174"/>
                        </a:cubicBezTo>
                        <a:lnTo>
                          <a:pt x="45905" y="113179"/>
                        </a:lnTo>
                        <a:lnTo>
                          <a:pt x="8243" y="103150"/>
                        </a:lnTo>
                        <a:cubicBezTo>
                          <a:pt x="5665" y="102464"/>
                          <a:pt x="3019" y="103996"/>
                          <a:pt x="2333" y="106574"/>
                        </a:cubicBezTo>
                        <a:cubicBezTo>
                          <a:pt x="1646" y="109151"/>
                          <a:pt x="3179" y="111797"/>
                          <a:pt x="5756" y="112484"/>
                        </a:cubicBezTo>
                        <a:lnTo>
                          <a:pt x="34080" y="120026"/>
                        </a:lnTo>
                        <a:lnTo>
                          <a:pt x="2391" y="138374"/>
                        </a:lnTo>
                        <a:cubicBezTo>
                          <a:pt x="89" y="139721"/>
                          <a:pt x="-685" y="142678"/>
                          <a:pt x="662" y="144980"/>
                        </a:cubicBezTo>
                        <a:cubicBezTo>
                          <a:pt x="664" y="144983"/>
                          <a:pt x="665" y="144986"/>
                          <a:pt x="667" y="144989"/>
                        </a:cubicBezTo>
                        <a:close/>
                        <a:moveTo>
                          <a:pt x="84199" y="82084"/>
                        </a:moveTo>
                        <a:cubicBezTo>
                          <a:pt x="92200" y="82084"/>
                          <a:pt x="98685" y="88569"/>
                          <a:pt x="98685" y="96569"/>
                        </a:cubicBezTo>
                        <a:cubicBezTo>
                          <a:pt x="98685" y="104569"/>
                          <a:pt x="92200" y="111055"/>
                          <a:pt x="84199" y="111055"/>
                        </a:cubicBezTo>
                        <a:cubicBezTo>
                          <a:pt x="76199" y="111055"/>
                          <a:pt x="69714" y="104569"/>
                          <a:pt x="69714" y="96569"/>
                        </a:cubicBezTo>
                        <a:cubicBezTo>
                          <a:pt x="69714" y="88569"/>
                          <a:pt x="76199" y="82084"/>
                          <a:pt x="84199" y="82084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 w="47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fr-BE"/>
                  </a:p>
                </p:txBody>
              </p:sp>
            </p:grpSp>
          </p:grpSp>
          <p:pic>
            <p:nvPicPr>
              <p:cNvPr id="33" name="Graphic 32" descr="Washing Machine outline">
                <a:extLst>
                  <a:ext uri="{FF2B5EF4-FFF2-40B4-BE49-F238E27FC236}">
                    <a16:creationId xmlns:a16="http://schemas.microsoft.com/office/drawing/2014/main" id="{7DB6DEA5-7E4B-444D-A365-01C8CCD0F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flipV="1">
                <a:off x="382394" y="1464709"/>
                <a:ext cx="708992" cy="708992"/>
              </a:xfrm>
              <a:prstGeom prst="rect">
                <a:avLst/>
              </a:prstGeom>
            </p:spPr>
          </p:pic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367EB20-28D6-42DF-91B2-B2C71316A5EC}"/>
                  </a:ext>
                </a:extLst>
              </p:cNvPr>
              <p:cNvSpPr/>
              <p:nvPr/>
            </p:nvSpPr>
            <p:spPr>
              <a:xfrm>
                <a:off x="582242" y="1577289"/>
                <a:ext cx="324000" cy="3510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  <p:pic>
            <p:nvPicPr>
              <p:cNvPr id="32" name="Graphic 31" descr="Cooked turkey outline">
                <a:extLst>
                  <a:ext uri="{FF2B5EF4-FFF2-40B4-BE49-F238E27FC236}">
                    <a16:creationId xmlns:a16="http://schemas.microsoft.com/office/drawing/2014/main" id="{E43BC5C0-5ADA-4E78-9E4C-23FFE99C7F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32723" y="1534431"/>
                <a:ext cx="393882" cy="393882"/>
              </a:xfrm>
              <a:prstGeom prst="rect">
                <a:avLst/>
              </a:prstGeom>
            </p:spPr>
          </p:pic>
          <p:pic>
            <p:nvPicPr>
              <p:cNvPr id="36" name="Graphic 35" descr="Lamp with solid fill">
                <a:extLst>
                  <a:ext uri="{FF2B5EF4-FFF2-40B4-BE49-F238E27FC236}">
                    <a16:creationId xmlns:a16="http://schemas.microsoft.com/office/drawing/2014/main" id="{330AB7DE-B462-4C0A-8A0D-09CB12024F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3050282" y="1469346"/>
                <a:ext cx="676275" cy="676275"/>
              </a:xfrm>
              <a:prstGeom prst="rect">
                <a:avLst/>
              </a:prstGeom>
            </p:spPr>
          </p:pic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3E34272A-38B0-4A89-856B-37B3BB24989A}"/>
                  </a:ext>
                </a:extLst>
              </p:cNvPr>
              <p:cNvGrpSpPr/>
              <p:nvPr/>
            </p:nvGrpSpPr>
            <p:grpSpPr>
              <a:xfrm>
                <a:off x="3740709" y="1966724"/>
                <a:ext cx="400050" cy="117066"/>
                <a:chOff x="7343775" y="2826159"/>
                <a:chExt cx="400050" cy="117066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ED436262-3BF4-468E-9B57-A46BC8AAEA93}"/>
                    </a:ext>
                  </a:extLst>
                </p:cNvPr>
                <p:cNvSpPr/>
                <p:nvPr/>
              </p:nvSpPr>
              <p:spPr>
                <a:xfrm>
                  <a:off x="7343775" y="2826159"/>
                  <a:ext cx="95250" cy="117066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/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0D7F739D-EA3A-4A61-9D08-706E2CC5C09F}"/>
                    </a:ext>
                  </a:extLst>
                </p:cNvPr>
                <p:cNvSpPr/>
                <p:nvPr/>
              </p:nvSpPr>
              <p:spPr>
                <a:xfrm>
                  <a:off x="7496175" y="2826159"/>
                  <a:ext cx="95250" cy="117066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/>
                </a:p>
              </p:txBody>
            </p:sp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5FBA619F-E7F6-46F4-BE92-0690F6E0F87A}"/>
                    </a:ext>
                  </a:extLst>
                </p:cNvPr>
                <p:cNvSpPr/>
                <p:nvPr/>
              </p:nvSpPr>
              <p:spPr>
                <a:xfrm>
                  <a:off x="7648575" y="2826159"/>
                  <a:ext cx="95250" cy="117066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BE"/>
                </a:p>
              </p:txBody>
            </p:sp>
          </p:grp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D8BBCA0-3E9F-4C98-9FAA-B70580409D81}"/>
              </a:ext>
            </a:extLst>
          </p:cNvPr>
          <p:cNvGrpSpPr/>
          <p:nvPr/>
        </p:nvGrpSpPr>
        <p:grpSpPr>
          <a:xfrm>
            <a:off x="1626646" y="4866644"/>
            <a:ext cx="10544438" cy="685799"/>
            <a:chOff x="1626646" y="4349443"/>
            <a:chExt cx="10544438" cy="685799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D70E861D-FA17-42FA-AB6F-7C52C03AB6EF}"/>
                </a:ext>
              </a:extLst>
            </p:cNvPr>
            <p:cNvGrpSpPr/>
            <p:nvPr/>
          </p:nvGrpSpPr>
          <p:grpSpPr>
            <a:xfrm>
              <a:off x="1626646" y="4349443"/>
              <a:ext cx="800100" cy="685799"/>
              <a:chOff x="1391164" y="3128546"/>
              <a:chExt cx="800100" cy="685799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481E11D-01D1-4E98-A608-AB7EBE04B785}"/>
                  </a:ext>
                </a:extLst>
              </p:cNvPr>
              <p:cNvSpPr/>
              <p:nvPr/>
            </p:nvSpPr>
            <p:spPr>
              <a:xfrm>
                <a:off x="1391164" y="3128546"/>
                <a:ext cx="800100" cy="417194"/>
              </a:xfrm>
              <a:custGeom>
                <a:avLst/>
                <a:gdLst>
                  <a:gd name="connsiteX0" fmla="*/ 628650 w 800100"/>
                  <a:gd name="connsiteY0" fmla="*/ 217170 h 417194"/>
                  <a:gd name="connsiteX1" fmla="*/ 628650 w 800100"/>
                  <a:gd name="connsiteY1" fmla="*/ 57150 h 417194"/>
                  <a:gd name="connsiteX2" fmla="*/ 552450 w 800100"/>
                  <a:gd name="connsiteY2" fmla="*/ 57150 h 417194"/>
                  <a:gd name="connsiteX3" fmla="*/ 552450 w 800100"/>
                  <a:gd name="connsiteY3" fmla="*/ 144780 h 417194"/>
                  <a:gd name="connsiteX4" fmla="*/ 400050 w 800100"/>
                  <a:gd name="connsiteY4" fmla="*/ 0 h 417194"/>
                  <a:gd name="connsiteX5" fmla="*/ 400050 w 800100"/>
                  <a:gd name="connsiteY5" fmla="*/ 0 h 417194"/>
                  <a:gd name="connsiteX6" fmla="*/ 0 w 800100"/>
                  <a:gd name="connsiteY6" fmla="*/ 381000 h 417194"/>
                  <a:gd name="connsiteX7" fmla="*/ 42863 w 800100"/>
                  <a:gd name="connsiteY7" fmla="*/ 417195 h 417194"/>
                  <a:gd name="connsiteX8" fmla="*/ 400050 w 800100"/>
                  <a:gd name="connsiteY8" fmla="*/ 78105 h 417194"/>
                  <a:gd name="connsiteX9" fmla="*/ 400050 w 800100"/>
                  <a:gd name="connsiteY9" fmla="*/ 78105 h 417194"/>
                  <a:gd name="connsiteX10" fmla="*/ 757238 w 800100"/>
                  <a:gd name="connsiteY10" fmla="*/ 417195 h 417194"/>
                  <a:gd name="connsiteX11" fmla="*/ 800100 w 800100"/>
                  <a:gd name="connsiteY11" fmla="*/ 381000 h 417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00100" h="417194">
                    <a:moveTo>
                      <a:pt x="628650" y="217170"/>
                    </a:moveTo>
                    <a:lnTo>
                      <a:pt x="628650" y="57150"/>
                    </a:lnTo>
                    <a:lnTo>
                      <a:pt x="552450" y="57150"/>
                    </a:lnTo>
                    <a:lnTo>
                      <a:pt x="552450" y="144780"/>
                    </a:lnTo>
                    <a:lnTo>
                      <a:pt x="400050" y="0"/>
                    </a:lnTo>
                    <a:lnTo>
                      <a:pt x="400050" y="0"/>
                    </a:lnTo>
                    <a:lnTo>
                      <a:pt x="0" y="381000"/>
                    </a:lnTo>
                    <a:lnTo>
                      <a:pt x="42863" y="417195"/>
                    </a:lnTo>
                    <a:lnTo>
                      <a:pt x="400050" y="78105"/>
                    </a:lnTo>
                    <a:lnTo>
                      <a:pt x="400050" y="78105"/>
                    </a:lnTo>
                    <a:lnTo>
                      <a:pt x="757238" y="417195"/>
                    </a:lnTo>
                    <a:lnTo>
                      <a:pt x="800100" y="38100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BE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C41F6F8B-F7FF-4870-B5E1-A9AA5C6B786F}"/>
                  </a:ext>
                </a:extLst>
              </p:cNvPr>
              <p:cNvSpPr/>
              <p:nvPr/>
            </p:nvSpPr>
            <p:spPr>
              <a:xfrm>
                <a:off x="1505464" y="3259990"/>
                <a:ext cx="571500" cy="554355"/>
              </a:xfrm>
              <a:custGeom>
                <a:avLst/>
                <a:gdLst>
                  <a:gd name="connsiteX0" fmla="*/ 0 w 571500"/>
                  <a:gd name="connsiteY0" fmla="*/ 271463 h 554355"/>
                  <a:gd name="connsiteX1" fmla="*/ 0 w 571500"/>
                  <a:gd name="connsiteY1" fmla="*/ 554355 h 554355"/>
                  <a:gd name="connsiteX2" fmla="*/ 228600 w 571500"/>
                  <a:gd name="connsiteY2" fmla="*/ 554355 h 554355"/>
                  <a:gd name="connsiteX3" fmla="*/ 228600 w 571500"/>
                  <a:gd name="connsiteY3" fmla="*/ 316230 h 554355"/>
                  <a:gd name="connsiteX4" fmla="*/ 342900 w 571500"/>
                  <a:gd name="connsiteY4" fmla="*/ 316230 h 554355"/>
                  <a:gd name="connsiteX5" fmla="*/ 342900 w 571500"/>
                  <a:gd name="connsiteY5" fmla="*/ 554355 h 554355"/>
                  <a:gd name="connsiteX6" fmla="*/ 571500 w 571500"/>
                  <a:gd name="connsiteY6" fmla="*/ 554355 h 554355"/>
                  <a:gd name="connsiteX7" fmla="*/ 571500 w 571500"/>
                  <a:gd name="connsiteY7" fmla="*/ 271463 h 554355"/>
                  <a:gd name="connsiteX8" fmla="*/ 285750 w 571500"/>
                  <a:gd name="connsiteY8" fmla="*/ 0 h 554355"/>
                  <a:gd name="connsiteX9" fmla="*/ 0 w 571500"/>
                  <a:gd name="connsiteY9" fmla="*/ 271463 h 554355"/>
                  <a:gd name="connsiteX10" fmla="*/ 171450 w 571500"/>
                  <a:gd name="connsiteY10" fmla="*/ 430530 h 554355"/>
                  <a:gd name="connsiteX11" fmla="*/ 57150 w 571500"/>
                  <a:gd name="connsiteY11" fmla="*/ 430530 h 554355"/>
                  <a:gd name="connsiteX12" fmla="*/ 57150 w 571500"/>
                  <a:gd name="connsiteY12" fmla="*/ 316230 h 554355"/>
                  <a:gd name="connsiteX13" fmla="*/ 171450 w 571500"/>
                  <a:gd name="connsiteY13" fmla="*/ 316230 h 554355"/>
                  <a:gd name="connsiteX14" fmla="*/ 171450 w 571500"/>
                  <a:gd name="connsiteY14" fmla="*/ 430530 h 554355"/>
                  <a:gd name="connsiteX15" fmla="*/ 400050 w 571500"/>
                  <a:gd name="connsiteY15" fmla="*/ 316230 h 554355"/>
                  <a:gd name="connsiteX16" fmla="*/ 514350 w 571500"/>
                  <a:gd name="connsiteY16" fmla="*/ 316230 h 554355"/>
                  <a:gd name="connsiteX17" fmla="*/ 514350 w 571500"/>
                  <a:gd name="connsiteY17" fmla="*/ 430530 h 554355"/>
                  <a:gd name="connsiteX18" fmla="*/ 400050 w 571500"/>
                  <a:gd name="connsiteY18" fmla="*/ 430530 h 554355"/>
                  <a:gd name="connsiteX19" fmla="*/ 400050 w 571500"/>
                  <a:gd name="connsiteY19" fmla="*/ 316230 h 554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71500" h="554355">
                    <a:moveTo>
                      <a:pt x="0" y="271463"/>
                    </a:moveTo>
                    <a:lnTo>
                      <a:pt x="0" y="554355"/>
                    </a:lnTo>
                    <a:lnTo>
                      <a:pt x="228600" y="554355"/>
                    </a:lnTo>
                    <a:lnTo>
                      <a:pt x="228600" y="316230"/>
                    </a:lnTo>
                    <a:lnTo>
                      <a:pt x="342900" y="316230"/>
                    </a:lnTo>
                    <a:lnTo>
                      <a:pt x="342900" y="554355"/>
                    </a:lnTo>
                    <a:lnTo>
                      <a:pt x="571500" y="554355"/>
                    </a:lnTo>
                    <a:lnTo>
                      <a:pt x="571500" y="271463"/>
                    </a:lnTo>
                    <a:lnTo>
                      <a:pt x="285750" y="0"/>
                    </a:lnTo>
                    <a:lnTo>
                      <a:pt x="0" y="271463"/>
                    </a:lnTo>
                    <a:close/>
                    <a:moveTo>
                      <a:pt x="171450" y="430530"/>
                    </a:moveTo>
                    <a:lnTo>
                      <a:pt x="57150" y="430530"/>
                    </a:lnTo>
                    <a:lnTo>
                      <a:pt x="57150" y="316230"/>
                    </a:lnTo>
                    <a:lnTo>
                      <a:pt x="171450" y="316230"/>
                    </a:lnTo>
                    <a:lnTo>
                      <a:pt x="171450" y="430530"/>
                    </a:lnTo>
                    <a:close/>
                    <a:moveTo>
                      <a:pt x="400050" y="316230"/>
                    </a:moveTo>
                    <a:lnTo>
                      <a:pt x="514350" y="316230"/>
                    </a:lnTo>
                    <a:lnTo>
                      <a:pt x="514350" y="430530"/>
                    </a:lnTo>
                    <a:lnTo>
                      <a:pt x="400050" y="430530"/>
                    </a:lnTo>
                    <a:lnTo>
                      <a:pt x="400050" y="316230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BE" dirty="0"/>
              </a:p>
            </p:txBody>
          </p:sp>
        </p:grpSp>
        <p:sp>
          <p:nvSpPr>
            <p:cNvPr id="44" name="Arrow: Right 43">
              <a:extLst>
                <a:ext uri="{FF2B5EF4-FFF2-40B4-BE49-F238E27FC236}">
                  <a16:creationId xmlns:a16="http://schemas.microsoft.com/office/drawing/2014/main" id="{F3DBA97E-6277-4650-9B93-15D49AFA4368}"/>
                </a:ext>
              </a:extLst>
            </p:cNvPr>
            <p:cNvSpPr/>
            <p:nvPr/>
          </p:nvSpPr>
          <p:spPr>
            <a:xfrm>
              <a:off x="4415598" y="4432741"/>
              <a:ext cx="1047750" cy="51920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042B5F9-00BF-426D-A9CA-4175ED855E9E}"/>
                </a:ext>
              </a:extLst>
            </p:cNvPr>
            <p:cNvSpPr txBox="1"/>
            <p:nvPr/>
          </p:nvSpPr>
          <p:spPr>
            <a:xfrm>
              <a:off x="5563885" y="4432741"/>
              <a:ext cx="660719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2800" dirty="0"/>
                <a:t>14 kW à 27,5 kW de puissance contractuelle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2907179-8AB8-4E67-BB5C-56F7CB8B6CE0}"/>
              </a:ext>
            </a:extLst>
          </p:cNvPr>
          <p:cNvGrpSpPr/>
          <p:nvPr/>
        </p:nvGrpSpPr>
        <p:grpSpPr>
          <a:xfrm>
            <a:off x="405449" y="5622489"/>
            <a:ext cx="11774086" cy="823407"/>
            <a:chOff x="355124" y="4190338"/>
            <a:chExt cx="11774086" cy="823407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FE7696C-C1EF-4BC5-A510-6103B0DC00E2}"/>
                </a:ext>
              </a:extLst>
            </p:cNvPr>
            <p:cNvSpPr txBox="1"/>
            <p:nvPr/>
          </p:nvSpPr>
          <p:spPr>
            <a:xfrm>
              <a:off x="5731965" y="4342439"/>
              <a:ext cx="63972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sz="2800" dirty="0"/>
                <a:t>? KW au moment de la pointe</a:t>
              </a:r>
            </a:p>
          </p:txBody>
        </p:sp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E355B4A9-FE9A-44D4-B2AA-F4C34D771DC2}"/>
                </a:ext>
              </a:extLst>
            </p:cNvPr>
            <p:cNvSpPr/>
            <p:nvPr/>
          </p:nvSpPr>
          <p:spPr>
            <a:xfrm>
              <a:off x="4343398" y="4342439"/>
              <a:ext cx="1047750" cy="51920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CA5C2BA-E672-4024-A817-310DF9364AE8}"/>
                </a:ext>
              </a:extLst>
            </p:cNvPr>
            <p:cNvGrpSpPr/>
            <p:nvPr/>
          </p:nvGrpSpPr>
          <p:grpSpPr>
            <a:xfrm>
              <a:off x="355124" y="4190338"/>
              <a:ext cx="3212229" cy="823407"/>
              <a:chOff x="1050449" y="3700968"/>
              <a:chExt cx="3212229" cy="823407"/>
            </a:xfrm>
          </p:grpSpPr>
          <p:pic>
            <p:nvPicPr>
              <p:cNvPr id="6" name="Content Placeholder 4" descr="House with solid fill">
                <a:extLst>
                  <a:ext uri="{FF2B5EF4-FFF2-40B4-BE49-F238E27FC236}">
                    <a16:creationId xmlns:a16="http://schemas.microsoft.com/office/drawing/2014/main" id="{28E381B8-E84E-440E-968F-808BD53E61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808115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7" name="Content Placeholder 4" descr="House with solid fill">
                <a:extLst>
                  <a:ext uri="{FF2B5EF4-FFF2-40B4-BE49-F238E27FC236}">
                    <a16:creationId xmlns:a16="http://schemas.microsoft.com/office/drawing/2014/main" id="{23625A2A-7B32-4BC2-92A9-D08C477F4F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206321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8" name="Content Placeholder 4" descr="House with solid fill">
                <a:extLst>
                  <a:ext uri="{FF2B5EF4-FFF2-40B4-BE49-F238E27FC236}">
                    <a16:creationId xmlns:a16="http://schemas.microsoft.com/office/drawing/2014/main" id="{889AB7A2-DBAF-4662-9D5D-1F424E8B47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604527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9" name="Content Placeholder 4" descr="House with solid fill">
                <a:extLst>
                  <a:ext uri="{FF2B5EF4-FFF2-40B4-BE49-F238E27FC236}">
                    <a16:creationId xmlns:a16="http://schemas.microsoft.com/office/drawing/2014/main" id="{A795150A-25D0-40C8-A679-40F8109A14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002733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10" name="Content Placeholder 4" descr="House with solid fill">
                <a:extLst>
                  <a:ext uri="{FF2B5EF4-FFF2-40B4-BE49-F238E27FC236}">
                    <a16:creationId xmlns:a16="http://schemas.microsoft.com/office/drawing/2014/main" id="{9C265686-8ED6-48E8-8174-0FE9E1B075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400939" y="3700968"/>
                <a:ext cx="463531" cy="463531"/>
              </a:xfrm>
              <a:prstGeom prst="rect">
                <a:avLst/>
              </a:prstGeom>
            </p:spPr>
          </p:pic>
          <p:pic>
            <p:nvPicPr>
              <p:cNvPr id="11" name="Content Placeholder 4" descr="House with solid fill">
                <a:extLst>
                  <a:ext uri="{FF2B5EF4-FFF2-40B4-BE49-F238E27FC236}">
                    <a16:creationId xmlns:a16="http://schemas.microsoft.com/office/drawing/2014/main" id="{846F5946-5999-476C-BD31-BB8A2E57D0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799147" y="3700968"/>
                <a:ext cx="463531" cy="463531"/>
              </a:xfrm>
              <a:prstGeom prst="rect">
                <a:avLst/>
              </a:prstGeom>
            </p:spPr>
          </p:pic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673F66EF-F3F9-4FEA-87AB-DA77A20BC08A}"/>
                  </a:ext>
                </a:extLst>
              </p:cNvPr>
              <p:cNvSpPr/>
              <p:nvPr/>
            </p:nvSpPr>
            <p:spPr>
              <a:xfrm>
                <a:off x="1050449" y="4158169"/>
                <a:ext cx="359458" cy="366206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9126944-B653-4D91-B99D-8C4D16FE83AB}"/>
                  </a:ext>
                </a:extLst>
              </p:cNvPr>
              <p:cNvSpPr/>
              <p:nvPr/>
            </p:nvSpPr>
            <p:spPr>
              <a:xfrm>
                <a:off x="1202849" y="4158169"/>
                <a:ext cx="359458" cy="366206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  <p:cxnSp>
            <p:nvCxnSpPr>
              <p:cNvPr id="51" name="Connector: Elbow 50">
                <a:extLst>
                  <a:ext uri="{FF2B5EF4-FFF2-40B4-BE49-F238E27FC236}">
                    <a16:creationId xmlns:a16="http://schemas.microsoft.com/office/drawing/2014/main" id="{18E41B59-AD7E-4B07-8438-0EB1E16851D3}"/>
                  </a:ext>
                </a:extLst>
              </p:cNvPr>
              <p:cNvCxnSpPr>
                <a:stCxn id="11" idx="2"/>
                <a:endCxn id="49" idx="6"/>
              </p:cNvCxnSpPr>
              <p:nvPr/>
            </p:nvCxnSpPr>
            <p:spPr>
              <a:xfrm rot="5400000">
                <a:off x="2708224" y="3018582"/>
                <a:ext cx="176773" cy="2468606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Connector: Elbow 51">
                <a:extLst>
                  <a:ext uri="{FF2B5EF4-FFF2-40B4-BE49-F238E27FC236}">
                    <a16:creationId xmlns:a16="http://schemas.microsoft.com/office/drawing/2014/main" id="{9E06B90E-2EA3-4394-8B05-8743C6EE8CA8}"/>
                  </a:ext>
                </a:extLst>
              </p:cNvPr>
              <p:cNvCxnSpPr>
                <a:cxnSpLocks/>
                <a:stCxn id="10" idx="2"/>
                <a:endCxn id="49" idx="6"/>
              </p:cNvCxnSpPr>
              <p:nvPr/>
            </p:nvCxnSpPr>
            <p:spPr>
              <a:xfrm rot="5400000">
                <a:off x="2509120" y="3217686"/>
                <a:ext cx="176773" cy="2070398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nector: Elbow 54">
                <a:extLst>
                  <a:ext uri="{FF2B5EF4-FFF2-40B4-BE49-F238E27FC236}">
                    <a16:creationId xmlns:a16="http://schemas.microsoft.com/office/drawing/2014/main" id="{F7DE92D3-012B-430F-BCAD-F27A29414DA5}"/>
                  </a:ext>
                </a:extLst>
              </p:cNvPr>
              <p:cNvCxnSpPr>
                <a:cxnSpLocks/>
                <a:stCxn id="9" idx="2"/>
                <a:endCxn id="49" idx="6"/>
              </p:cNvCxnSpPr>
              <p:nvPr/>
            </p:nvCxnSpPr>
            <p:spPr>
              <a:xfrm rot="5400000">
                <a:off x="2310017" y="3416789"/>
                <a:ext cx="176773" cy="1672192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nector: Elbow 57">
                <a:extLst>
                  <a:ext uri="{FF2B5EF4-FFF2-40B4-BE49-F238E27FC236}">
                    <a16:creationId xmlns:a16="http://schemas.microsoft.com/office/drawing/2014/main" id="{0C2F441E-9124-476F-8E0B-0163BA07B723}"/>
                  </a:ext>
                </a:extLst>
              </p:cNvPr>
              <p:cNvCxnSpPr>
                <a:cxnSpLocks/>
                <a:stCxn id="8" idx="2"/>
                <a:endCxn id="49" idx="6"/>
              </p:cNvCxnSpPr>
              <p:nvPr/>
            </p:nvCxnSpPr>
            <p:spPr>
              <a:xfrm rot="5400000">
                <a:off x="2110914" y="3615892"/>
                <a:ext cx="176773" cy="1273986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Connector: Elbow 60">
                <a:extLst>
                  <a:ext uri="{FF2B5EF4-FFF2-40B4-BE49-F238E27FC236}">
                    <a16:creationId xmlns:a16="http://schemas.microsoft.com/office/drawing/2014/main" id="{B2A98137-974C-4C46-B143-B6DA6D1BBB21}"/>
                  </a:ext>
                </a:extLst>
              </p:cNvPr>
              <p:cNvCxnSpPr>
                <a:cxnSpLocks/>
                <a:stCxn id="7" idx="2"/>
                <a:endCxn id="49" idx="6"/>
              </p:cNvCxnSpPr>
              <p:nvPr/>
            </p:nvCxnSpPr>
            <p:spPr>
              <a:xfrm rot="5400000">
                <a:off x="1911811" y="3814995"/>
                <a:ext cx="176773" cy="875780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Connector: Elbow 63">
                <a:extLst>
                  <a:ext uri="{FF2B5EF4-FFF2-40B4-BE49-F238E27FC236}">
                    <a16:creationId xmlns:a16="http://schemas.microsoft.com/office/drawing/2014/main" id="{10FC9163-58D2-4B77-853E-322C6870604F}"/>
                  </a:ext>
                </a:extLst>
              </p:cNvPr>
              <p:cNvCxnSpPr>
                <a:cxnSpLocks/>
                <a:stCxn id="6" idx="2"/>
                <a:endCxn id="49" idx="6"/>
              </p:cNvCxnSpPr>
              <p:nvPr/>
            </p:nvCxnSpPr>
            <p:spPr>
              <a:xfrm rot="5400000">
                <a:off x="1712708" y="4014098"/>
                <a:ext cx="176773" cy="477574"/>
              </a:xfrm>
              <a:prstGeom prst="bentConnector2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97DE2366-AA5C-4CA7-8256-8FF85024B888}"/>
              </a:ext>
            </a:extLst>
          </p:cNvPr>
          <p:cNvSpPr txBox="1"/>
          <p:nvPr/>
        </p:nvSpPr>
        <p:spPr>
          <a:xfrm>
            <a:off x="507524" y="1295966"/>
            <a:ext cx="37050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800" dirty="0">
                <a:solidFill>
                  <a:srgbClr val="00B050"/>
                </a:solidFill>
              </a:rPr>
              <a:t>Transition énergétique:</a:t>
            </a:r>
          </a:p>
        </p:txBody>
      </p:sp>
      <p:pic>
        <p:nvPicPr>
          <p:cNvPr id="4" name="Graphic 3" descr="Electric car with solid fill">
            <a:extLst>
              <a:ext uri="{FF2B5EF4-FFF2-40B4-BE49-F238E27FC236}">
                <a16:creationId xmlns:a16="http://schemas.microsoft.com/office/drawing/2014/main" id="{A0435344-0958-488F-8900-EB307E3FA4C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53278" y="3022363"/>
            <a:ext cx="914400" cy="91440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A7FBB3CD-1A5C-436B-A2A7-84F832079A60}"/>
              </a:ext>
            </a:extLst>
          </p:cNvPr>
          <p:cNvSpPr txBox="1"/>
          <p:nvPr/>
        </p:nvSpPr>
        <p:spPr>
          <a:xfrm>
            <a:off x="5749557" y="3217953"/>
            <a:ext cx="4972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800" dirty="0"/>
              <a:t>De 3,7 à 22 kW par habitation</a:t>
            </a:r>
          </a:p>
        </p:txBody>
      </p:sp>
      <p:sp>
        <p:nvSpPr>
          <p:cNvPr id="59" name="Arrow: Right 58">
            <a:extLst>
              <a:ext uri="{FF2B5EF4-FFF2-40B4-BE49-F238E27FC236}">
                <a16:creationId xmlns:a16="http://schemas.microsoft.com/office/drawing/2014/main" id="{75F5B0ED-182C-4D31-85EC-C7FFC6DBCD7D}"/>
              </a:ext>
            </a:extLst>
          </p:cNvPr>
          <p:cNvSpPr/>
          <p:nvPr/>
        </p:nvSpPr>
        <p:spPr>
          <a:xfrm>
            <a:off x="4419132" y="3219961"/>
            <a:ext cx="1047750" cy="519205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24578" name="Picture 2" descr="See the source image">
            <a:extLst>
              <a:ext uri="{FF2B5EF4-FFF2-40B4-BE49-F238E27FC236}">
                <a16:creationId xmlns:a16="http://schemas.microsoft.com/office/drawing/2014/main" id="{77AD5DD4-D195-4785-816B-34672A644D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6145" y="4003014"/>
            <a:ext cx="797379" cy="797379"/>
          </a:xfrm>
          <a:prstGeom prst="rect">
            <a:avLst/>
          </a:prstGeom>
          <a:solidFill>
            <a:srgbClr val="00B050"/>
          </a:solidFill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96ED860F-D7DA-4415-94FC-E764ABF008D5}"/>
              </a:ext>
            </a:extLst>
          </p:cNvPr>
          <p:cNvSpPr txBox="1"/>
          <p:nvPr/>
        </p:nvSpPr>
        <p:spPr>
          <a:xfrm>
            <a:off x="5749556" y="4140093"/>
            <a:ext cx="47014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800" dirty="0"/>
              <a:t>De 2 à 5 kW par habitation </a:t>
            </a:r>
          </a:p>
        </p:txBody>
      </p:sp>
      <p:sp>
        <p:nvSpPr>
          <p:cNvPr id="60" name="Arrow: Right 59">
            <a:extLst>
              <a:ext uri="{FF2B5EF4-FFF2-40B4-BE49-F238E27FC236}">
                <a16:creationId xmlns:a16="http://schemas.microsoft.com/office/drawing/2014/main" id="{61A2E1F2-3B10-4A96-ACCE-9EC213B1B62C}"/>
              </a:ext>
            </a:extLst>
          </p:cNvPr>
          <p:cNvSpPr/>
          <p:nvPr/>
        </p:nvSpPr>
        <p:spPr>
          <a:xfrm>
            <a:off x="4419132" y="4142101"/>
            <a:ext cx="1047750" cy="519205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92670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54267D90-21EB-4E43-A090-C2E396D2A0D8}"/>
              </a:ext>
            </a:extLst>
          </p:cNvPr>
          <p:cNvSpPr txBox="1"/>
          <p:nvPr/>
        </p:nvSpPr>
        <p:spPr>
          <a:xfrm>
            <a:off x="757766" y="1409096"/>
            <a:ext cx="106764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2800" dirty="0"/>
              <a:t>Une chose est certaine. La mobilité électrique change la manière dont les réseaux sont calculé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2800" dirty="0"/>
              <a:t>Le ratio effet sur la pointe par Véhicule électrique (kW / VE) qui s’ajoute à la pointe moyenne « traditionnelle » des clients (~3 kW) varie en fonction des hypothèses pris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347E35-3A0B-4423-8EA6-1E882C186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ffets sur le réseau BT</a:t>
            </a:r>
          </a:p>
        </p:txBody>
      </p:sp>
      <p:graphicFrame>
        <p:nvGraphicFramePr>
          <p:cNvPr id="29" name="Table 4">
            <a:extLst>
              <a:ext uri="{FF2B5EF4-FFF2-40B4-BE49-F238E27FC236}">
                <a16:creationId xmlns:a16="http://schemas.microsoft.com/office/drawing/2014/main" id="{53B305EE-5042-4F20-8B26-70073CB409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1574286"/>
              </p:ext>
            </p:extLst>
          </p:nvPr>
        </p:nvGraphicFramePr>
        <p:xfrm>
          <a:off x="1111440" y="3642707"/>
          <a:ext cx="9797470" cy="1620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9747">
                  <a:extLst>
                    <a:ext uri="{9D8B030D-6E8A-4147-A177-3AD203B41FA5}">
                      <a16:colId xmlns:a16="http://schemas.microsoft.com/office/drawing/2014/main" val="3690504074"/>
                    </a:ext>
                  </a:extLst>
                </a:gridCol>
                <a:gridCol w="979747">
                  <a:extLst>
                    <a:ext uri="{9D8B030D-6E8A-4147-A177-3AD203B41FA5}">
                      <a16:colId xmlns:a16="http://schemas.microsoft.com/office/drawing/2014/main" val="4146041828"/>
                    </a:ext>
                  </a:extLst>
                </a:gridCol>
                <a:gridCol w="869695">
                  <a:extLst>
                    <a:ext uri="{9D8B030D-6E8A-4147-A177-3AD203B41FA5}">
                      <a16:colId xmlns:a16="http://schemas.microsoft.com/office/drawing/2014/main" val="2939103644"/>
                    </a:ext>
                  </a:extLst>
                </a:gridCol>
                <a:gridCol w="1089799">
                  <a:extLst>
                    <a:ext uri="{9D8B030D-6E8A-4147-A177-3AD203B41FA5}">
                      <a16:colId xmlns:a16="http://schemas.microsoft.com/office/drawing/2014/main" val="232601011"/>
                    </a:ext>
                  </a:extLst>
                </a:gridCol>
                <a:gridCol w="979747">
                  <a:extLst>
                    <a:ext uri="{9D8B030D-6E8A-4147-A177-3AD203B41FA5}">
                      <a16:colId xmlns:a16="http://schemas.microsoft.com/office/drawing/2014/main" val="2765441776"/>
                    </a:ext>
                  </a:extLst>
                </a:gridCol>
                <a:gridCol w="979747">
                  <a:extLst>
                    <a:ext uri="{9D8B030D-6E8A-4147-A177-3AD203B41FA5}">
                      <a16:colId xmlns:a16="http://schemas.microsoft.com/office/drawing/2014/main" val="227103819"/>
                    </a:ext>
                  </a:extLst>
                </a:gridCol>
                <a:gridCol w="979747">
                  <a:extLst>
                    <a:ext uri="{9D8B030D-6E8A-4147-A177-3AD203B41FA5}">
                      <a16:colId xmlns:a16="http://schemas.microsoft.com/office/drawing/2014/main" val="1679129564"/>
                    </a:ext>
                  </a:extLst>
                </a:gridCol>
                <a:gridCol w="979747">
                  <a:extLst>
                    <a:ext uri="{9D8B030D-6E8A-4147-A177-3AD203B41FA5}">
                      <a16:colId xmlns:a16="http://schemas.microsoft.com/office/drawing/2014/main" val="2217008517"/>
                    </a:ext>
                  </a:extLst>
                </a:gridCol>
                <a:gridCol w="979747">
                  <a:extLst>
                    <a:ext uri="{9D8B030D-6E8A-4147-A177-3AD203B41FA5}">
                      <a16:colId xmlns:a16="http://schemas.microsoft.com/office/drawing/2014/main" val="3318280723"/>
                    </a:ext>
                  </a:extLst>
                </a:gridCol>
                <a:gridCol w="979747">
                  <a:extLst>
                    <a:ext uri="{9D8B030D-6E8A-4147-A177-3AD203B41FA5}">
                      <a16:colId xmlns:a16="http://schemas.microsoft.com/office/drawing/2014/main" val="34196706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scénario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ynergrid  -BARINGA</a:t>
                      </a:r>
                    </a:p>
                    <a:p>
                      <a:pPr algn="ctr"/>
                      <a:r>
                        <a:rPr lang="en-US" sz="1400" dirty="0"/>
                        <a:t>(2019)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RES</a:t>
                      </a:r>
                    </a:p>
                    <a:p>
                      <a:pPr algn="ctr"/>
                      <a:r>
                        <a:rPr lang="en-US" sz="1400" dirty="0"/>
                        <a:t>(2018)</a:t>
                      </a:r>
                    </a:p>
                    <a:p>
                      <a:pPr algn="ctr"/>
                      <a:r>
                        <a:rPr lang="en-US" sz="1400" dirty="0"/>
                        <a:t>(*)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HWARTZ (2020)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LIA adequacy (2020) (**)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cience direct</a:t>
                      </a:r>
                    </a:p>
                    <a:p>
                      <a:pPr algn="ctr"/>
                      <a:r>
                        <a:rPr lang="en-US" sz="1400" dirty="0"/>
                        <a:t>(2022)</a:t>
                      </a:r>
                    </a:p>
                    <a:p>
                      <a:pPr algn="ctr"/>
                      <a:r>
                        <a:rPr lang="en-US" sz="1400" dirty="0"/>
                        <a:t>(***)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LUVIU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2022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****)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Synergrid  -BARING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2022)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ORES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2022)</a:t>
                      </a:r>
                      <a:endParaRPr lang="en-BE" sz="140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SA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(2022)</a:t>
                      </a:r>
                      <a:endParaRPr lang="en-BE" sz="1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1747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,50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,90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,30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,10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,39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,96</a:t>
                      </a:r>
                      <a:endParaRPr lang="en-BE" sz="14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En</a:t>
                      </a:r>
                      <a:r>
                        <a:rPr lang="en-US" sz="1200" dirty="0"/>
                        <a:t> construction</a:t>
                      </a:r>
                      <a:endParaRPr lang="en-B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,52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,00</a:t>
                      </a:r>
                      <a:endParaRPr lang="en-B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2409477"/>
                  </a:ext>
                </a:extLst>
              </a:tr>
              <a:tr h="25341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,62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,81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,80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,25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,33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,44</a:t>
                      </a:r>
                      <a:endParaRPr lang="en-BE" sz="14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B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,9</a:t>
                      </a:r>
                      <a:endParaRPr lang="en-BE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,00</a:t>
                      </a:r>
                      <a:endParaRPr lang="en-BE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76671450"/>
                  </a:ext>
                </a:extLst>
              </a:tr>
            </a:tbl>
          </a:graphicData>
        </a:graphic>
      </p:graphicFrame>
      <p:sp>
        <p:nvSpPr>
          <p:cNvPr id="32" name="Right Brace 31">
            <a:extLst>
              <a:ext uri="{FF2B5EF4-FFF2-40B4-BE49-F238E27FC236}">
                <a16:creationId xmlns:a16="http://schemas.microsoft.com/office/drawing/2014/main" id="{05DC9D2E-BFB3-4A4E-B7DB-7F84E777FBAE}"/>
              </a:ext>
            </a:extLst>
          </p:cNvPr>
          <p:cNvSpPr/>
          <p:nvPr/>
        </p:nvSpPr>
        <p:spPr>
          <a:xfrm rot="5400000">
            <a:off x="4408443" y="3024054"/>
            <a:ext cx="359771" cy="475705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3F030D23-BDA3-430C-98E5-20411ADD8120}"/>
              </a:ext>
            </a:extLst>
          </p:cNvPr>
          <p:cNvSpPr/>
          <p:nvPr/>
        </p:nvSpPr>
        <p:spPr>
          <a:xfrm rot="5400000">
            <a:off x="8805612" y="3443579"/>
            <a:ext cx="264546" cy="394205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99B0FDA-F94C-4892-B437-6FC79CC64523}"/>
              </a:ext>
            </a:extLst>
          </p:cNvPr>
          <p:cNvSpPr txBox="1"/>
          <p:nvPr/>
        </p:nvSpPr>
        <p:spPr>
          <a:xfrm>
            <a:off x="2857499" y="5541226"/>
            <a:ext cx="4296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Effet sur toute une ville, une région, un pay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9430DED-0562-4306-BFF1-BEB16C55CF6F}"/>
              </a:ext>
            </a:extLst>
          </p:cNvPr>
          <p:cNvSpPr txBox="1"/>
          <p:nvPr/>
        </p:nvSpPr>
        <p:spPr>
          <a:xfrm>
            <a:off x="7664255" y="5582469"/>
            <a:ext cx="3191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Effet dans un quarti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DE3D48-F5DD-4195-9F53-841B35D7153E}"/>
              </a:ext>
            </a:extLst>
          </p:cNvPr>
          <p:cNvSpPr txBox="1"/>
          <p:nvPr/>
        </p:nvSpPr>
        <p:spPr>
          <a:xfrm>
            <a:off x="58110" y="5831691"/>
            <a:ext cx="1207577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(*) A la </a:t>
            </a:r>
            <a:r>
              <a:rPr lang="en-US" sz="1200" dirty="0" err="1"/>
              <a:t>demande</a:t>
            </a:r>
            <a:r>
              <a:rPr lang="en-US" sz="1200" dirty="0"/>
              <a:t> de S&amp;CO, impact des VE sur la pointe </a:t>
            </a:r>
            <a:r>
              <a:rPr lang="en-US" sz="1200" dirty="0" err="1"/>
              <a:t>d’ORES</a:t>
            </a:r>
            <a:endParaRPr lang="en-US" sz="1200" dirty="0"/>
          </a:p>
          <a:p>
            <a:r>
              <a:rPr lang="en-US" sz="1200" dirty="0"/>
              <a:t>(**) </a:t>
            </a:r>
            <a:r>
              <a:rPr lang="en-BE" sz="1200" dirty="0"/>
              <a:t>20201120_Accelerating-to-net-zero-redefining-energy-and-mobility</a:t>
            </a:r>
            <a:r>
              <a:rPr lang="en-US" sz="1200" dirty="0"/>
              <a:t> (considering smart charging and V2G)</a:t>
            </a:r>
          </a:p>
          <a:p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(***) </a:t>
            </a:r>
            <a:r>
              <a:rPr lang="en-GB" sz="1200" b="0" i="0" dirty="0">
                <a:solidFill>
                  <a:srgbClr val="222222"/>
                </a:solidFill>
                <a:effectLst/>
              </a:rPr>
              <a:t>Rahman, S., Khan, I. A., Khan, A. A., Mallik, A., &amp; Nadeem, M. F. (2022). Comprehensive review &amp; impact analysis of integrating projected electric vehicle charging load to the existing low voltage distribution system. </a:t>
            </a:r>
            <a:r>
              <a:rPr lang="en-GB" sz="1200" b="0" i="1" dirty="0">
                <a:solidFill>
                  <a:srgbClr val="222222"/>
                </a:solidFill>
                <a:effectLst/>
              </a:rPr>
              <a:t>Renewable and Sustainable Energy Reviews</a:t>
            </a:r>
            <a:r>
              <a:rPr lang="en-GB" sz="1200" b="0" i="0" dirty="0">
                <a:solidFill>
                  <a:srgbClr val="222222"/>
                </a:solidFill>
                <a:effectLst/>
              </a:rPr>
              <a:t>, </a:t>
            </a:r>
            <a:r>
              <a:rPr lang="en-GB" sz="1200" b="0" i="1" dirty="0">
                <a:solidFill>
                  <a:srgbClr val="222222"/>
                </a:solidFill>
                <a:effectLst/>
              </a:rPr>
              <a:t>153</a:t>
            </a:r>
            <a:r>
              <a:rPr lang="en-GB" sz="1200" b="0" i="0" dirty="0">
                <a:solidFill>
                  <a:srgbClr val="222222"/>
                </a:solidFill>
                <a:effectLst/>
              </a:rPr>
              <a:t>, 111756 (note: result focus on Nordic region and 0,33 =&gt; day ahead spot price in Sweden)</a:t>
            </a:r>
          </a:p>
          <a:p>
            <a:r>
              <a:rPr lang="en-GB" sz="1200" dirty="0">
                <a:solidFill>
                  <a:srgbClr val="222222"/>
                </a:solidFill>
              </a:rPr>
              <a:t>(****) </a:t>
            </a:r>
            <a:r>
              <a:rPr lang="en-GB" sz="1200" dirty="0">
                <a:hlinkClick r:id="rId2"/>
              </a:rPr>
              <a:t>investeringsplan-2023-2032.pdf (fluvius.be)</a:t>
            </a:r>
            <a:r>
              <a:rPr lang="en-GB" sz="1200" dirty="0">
                <a:solidFill>
                  <a:srgbClr val="222222"/>
                </a:solidFill>
              </a:rPr>
              <a:t> page 31: 7,4 *0,6 = 4,44 (sur la BT) 7,4*0,4=2,96</a:t>
            </a:r>
          </a:p>
        </p:txBody>
      </p:sp>
    </p:spTree>
    <p:extLst>
      <p:ext uri="{BB962C8B-B14F-4D97-AF65-F5344CB8AC3E}">
        <p14:creationId xmlns:p14="http://schemas.microsoft.com/office/powerpoint/2010/main" val="2839388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E439B55-8A02-48FD-B65F-2B6B922386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 l="60341"/>
          <a:stretch/>
        </p:blipFill>
        <p:spPr>
          <a:xfrm>
            <a:off x="6711267" y="2488964"/>
            <a:ext cx="3131073" cy="3588862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42231B6-A00F-4974-BC45-46AB584A65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3999" y="1661421"/>
            <a:ext cx="11328001" cy="2780922"/>
          </a:xfrm>
        </p:spPr>
        <p:txBody>
          <a:bodyPr/>
          <a:lstStyle/>
          <a:p>
            <a:r>
              <a:rPr lang="fr-BE" dirty="0"/>
              <a:t>Les productions décentralisées (Photovoltaïque) dans les quartiers ne va pas « naturellement » aider le réseau car en hiver il n’y a plus de soleil au moment de la poin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D08015-0F98-426F-B7F4-246DFDEFD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ffets sur le réseau B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1FAFAE-1F10-4B34-A66A-41A7CC5919AC}"/>
              </a:ext>
            </a:extLst>
          </p:cNvPr>
          <p:cNvSpPr txBox="1"/>
          <p:nvPr/>
        </p:nvSpPr>
        <p:spPr>
          <a:xfrm>
            <a:off x="9281507" y="2657577"/>
            <a:ext cx="472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/>
              <a:t>Consommation sans V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D34ABBB-921A-484F-B928-7CEFA996F108}"/>
              </a:ext>
            </a:extLst>
          </p:cNvPr>
          <p:cNvCxnSpPr>
            <a:cxnSpLocks/>
          </p:cNvCxnSpPr>
          <p:nvPr/>
        </p:nvCxnSpPr>
        <p:spPr>
          <a:xfrm>
            <a:off x="9035974" y="2796075"/>
            <a:ext cx="245533" cy="0"/>
          </a:xfrm>
          <a:prstGeom prst="line">
            <a:avLst/>
          </a:prstGeom>
          <a:noFill/>
          <a:ln w="38100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CE3AF60-CAF9-467C-8737-AAAC0C7723B5}"/>
              </a:ext>
            </a:extLst>
          </p:cNvPr>
          <p:cNvSpPr/>
          <p:nvPr/>
        </p:nvSpPr>
        <p:spPr>
          <a:xfrm>
            <a:off x="1988901" y="3876035"/>
            <a:ext cx="7853439" cy="1547290"/>
          </a:xfrm>
          <a:custGeom>
            <a:avLst/>
            <a:gdLst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66534 w 7831667"/>
              <a:gd name="connsiteY68" fmla="*/ 1075267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588934 w 7831667"/>
              <a:gd name="connsiteY89" fmla="*/ 1202267 h 1540934"/>
              <a:gd name="connsiteX90" fmla="*/ 4724400 w 7831667"/>
              <a:gd name="connsiteY90" fmla="*/ 1126067 h 1540934"/>
              <a:gd name="connsiteX91" fmla="*/ 4775200 w 7831667"/>
              <a:gd name="connsiteY91" fmla="*/ 1100667 h 1540934"/>
              <a:gd name="connsiteX92" fmla="*/ 4842934 w 7831667"/>
              <a:gd name="connsiteY92" fmla="*/ 1058334 h 1540934"/>
              <a:gd name="connsiteX93" fmla="*/ 4876800 w 7831667"/>
              <a:gd name="connsiteY93" fmla="*/ 1032934 h 1540934"/>
              <a:gd name="connsiteX94" fmla="*/ 4953000 w 7831667"/>
              <a:gd name="connsiteY94" fmla="*/ 982134 h 1540934"/>
              <a:gd name="connsiteX95" fmla="*/ 4995334 w 7831667"/>
              <a:gd name="connsiteY95" fmla="*/ 948267 h 1540934"/>
              <a:gd name="connsiteX96" fmla="*/ 5046134 w 7831667"/>
              <a:gd name="connsiteY96" fmla="*/ 880534 h 1540934"/>
              <a:gd name="connsiteX97" fmla="*/ 5096934 w 7831667"/>
              <a:gd name="connsiteY97" fmla="*/ 812800 h 1540934"/>
              <a:gd name="connsiteX98" fmla="*/ 5122334 w 7831667"/>
              <a:gd name="connsiteY98" fmla="*/ 770467 h 1540934"/>
              <a:gd name="connsiteX99" fmla="*/ 5173134 w 7831667"/>
              <a:gd name="connsiteY99" fmla="*/ 719667 h 1540934"/>
              <a:gd name="connsiteX100" fmla="*/ 5207000 w 7831667"/>
              <a:gd name="connsiteY100" fmla="*/ 660400 h 1540934"/>
              <a:gd name="connsiteX101" fmla="*/ 5266267 w 7831667"/>
              <a:gd name="connsiteY101" fmla="*/ 558800 h 1540934"/>
              <a:gd name="connsiteX102" fmla="*/ 5520267 w 7831667"/>
              <a:gd name="connsiteY102" fmla="*/ 211667 h 1540934"/>
              <a:gd name="connsiteX103" fmla="*/ 5621867 w 7831667"/>
              <a:gd name="connsiteY103" fmla="*/ 135467 h 1540934"/>
              <a:gd name="connsiteX104" fmla="*/ 5655734 w 7831667"/>
              <a:gd name="connsiteY104" fmla="*/ 110067 h 1540934"/>
              <a:gd name="connsiteX105" fmla="*/ 5681134 w 7831667"/>
              <a:gd name="connsiteY105" fmla="*/ 84667 h 1540934"/>
              <a:gd name="connsiteX106" fmla="*/ 5731934 w 7831667"/>
              <a:gd name="connsiteY106" fmla="*/ 50800 h 1540934"/>
              <a:gd name="connsiteX107" fmla="*/ 5791200 w 7831667"/>
              <a:gd name="connsiteY107" fmla="*/ 16934 h 1540934"/>
              <a:gd name="connsiteX108" fmla="*/ 5833534 w 7831667"/>
              <a:gd name="connsiteY108" fmla="*/ 0 h 1540934"/>
              <a:gd name="connsiteX109" fmla="*/ 5952067 w 7831667"/>
              <a:gd name="connsiteY109" fmla="*/ 8467 h 1540934"/>
              <a:gd name="connsiteX110" fmla="*/ 6002867 w 7831667"/>
              <a:gd name="connsiteY110" fmla="*/ 16934 h 1540934"/>
              <a:gd name="connsiteX111" fmla="*/ 6062134 w 7831667"/>
              <a:gd name="connsiteY111" fmla="*/ 59267 h 1540934"/>
              <a:gd name="connsiteX112" fmla="*/ 6087534 w 7831667"/>
              <a:gd name="connsiteY112" fmla="*/ 93134 h 1540934"/>
              <a:gd name="connsiteX113" fmla="*/ 6163734 w 7831667"/>
              <a:gd name="connsiteY113" fmla="*/ 127000 h 1540934"/>
              <a:gd name="connsiteX114" fmla="*/ 6239934 w 7831667"/>
              <a:gd name="connsiteY114" fmla="*/ 152400 h 1540934"/>
              <a:gd name="connsiteX115" fmla="*/ 6307667 w 7831667"/>
              <a:gd name="connsiteY115" fmla="*/ 186267 h 1540934"/>
              <a:gd name="connsiteX116" fmla="*/ 6341534 w 7831667"/>
              <a:gd name="connsiteY116" fmla="*/ 194734 h 1540934"/>
              <a:gd name="connsiteX117" fmla="*/ 6366934 w 7831667"/>
              <a:gd name="connsiteY117" fmla="*/ 211667 h 1540934"/>
              <a:gd name="connsiteX118" fmla="*/ 6426200 w 7831667"/>
              <a:gd name="connsiteY118" fmla="*/ 237067 h 1540934"/>
              <a:gd name="connsiteX119" fmla="*/ 6460067 w 7831667"/>
              <a:gd name="connsiteY119" fmla="*/ 262467 h 1540934"/>
              <a:gd name="connsiteX120" fmla="*/ 6502400 w 7831667"/>
              <a:gd name="connsiteY120" fmla="*/ 287867 h 1540934"/>
              <a:gd name="connsiteX121" fmla="*/ 6544734 w 7831667"/>
              <a:gd name="connsiteY121" fmla="*/ 330200 h 1540934"/>
              <a:gd name="connsiteX122" fmla="*/ 6620934 w 7831667"/>
              <a:gd name="connsiteY122" fmla="*/ 364067 h 1540934"/>
              <a:gd name="connsiteX123" fmla="*/ 6705600 w 7831667"/>
              <a:gd name="connsiteY123" fmla="*/ 431800 h 1540934"/>
              <a:gd name="connsiteX124" fmla="*/ 6756400 w 7831667"/>
              <a:gd name="connsiteY124" fmla="*/ 457200 h 1540934"/>
              <a:gd name="connsiteX125" fmla="*/ 6773334 w 7831667"/>
              <a:gd name="connsiteY125" fmla="*/ 474134 h 1540934"/>
              <a:gd name="connsiteX126" fmla="*/ 6832600 w 7831667"/>
              <a:gd name="connsiteY126" fmla="*/ 516467 h 1540934"/>
              <a:gd name="connsiteX127" fmla="*/ 6874934 w 7831667"/>
              <a:gd name="connsiteY127" fmla="*/ 524934 h 1540934"/>
              <a:gd name="connsiteX128" fmla="*/ 6917267 w 7831667"/>
              <a:gd name="connsiteY128" fmla="*/ 541867 h 1540934"/>
              <a:gd name="connsiteX129" fmla="*/ 7103534 w 7831667"/>
              <a:gd name="connsiteY129" fmla="*/ 524934 h 1540934"/>
              <a:gd name="connsiteX130" fmla="*/ 7239000 w 7831667"/>
              <a:gd name="connsiteY130" fmla="*/ 482600 h 1540934"/>
              <a:gd name="connsiteX131" fmla="*/ 7433734 w 7831667"/>
              <a:gd name="connsiteY131" fmla="*/ 448734 h 1540934"/>
              <a:gd name="connsiteX132" fmla="*/ 7476067 w 7831667"/>
              <a:gd name="connsiteY132" fmla="*/ 474134 h 1540934"/>
              <a:gd name="connsiteX133" fmla="*/ 7526867 w 7831667"/>
              <a:gd name="connsiteY133" fmla="*/ 558800 h 1540934"/>
              <a:gd name="connsiteX134" fmla="*/ 7577667 w 7831667"/>
              <a:gd name="connsiteY134" fmla="*/ 702734 h 1540934"/>
              <a:gd name="connsiteX135" fmla="*/ 7586134 w 7831667"/>
              <a:gd name="connsiteY135" fmla="*/ 745067 h 1540934"/>
              <a:gd name="connsiteX136" fmla="*/ 7628467 w 7831667"/>
              <a:gd name="connsiteY136" fmla="*/ 778934 h 1540934"/>
              <a:gd name="connsiteX137" fmla="*/ 7662334 w 7831667"/>
              <a:gd name="connsiteY137" fmla="*/ 795867 h 1540934"/>
              <a:gd name="connsiteX138" fmla="*/ 7696200 w 7831667"/>
              <a:gd name="connsiteY138" fmla="*/ 821267 h 1540934"/>
              <a:gd name="connsiteX139" fmla="*/ 7730067 w 7831667"/>
              <a:gd name="connsiteY139" fmla="*/ 829734 h 1540934"/>
              <a:gd name="connsiteX140" fmla="*/ 7763934 w 7831667"/>
              <a:gd name="connsiteY140" fmla="*/ 846667 h 1540934"/>
              <a:gd name="connsiteX141" fmla="*/ 7814734 w 7831667"/>
              <a:gd name="connsiteY141" fmla="*/ 897467 h 1540934"/>
              <a:gd name="connsiteX142" fmla="*/ 7831667 w 7831667"/>
              <a:gd name="connsiteY14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588934 w 7831667"/>
              <a:gd name="connsiteY89" fmla="*/ 1202267 h 1540934"/>
              <a:gd name="connsiteX90" fmla="*/ 4724400 w 7831667"/>
              <a:gd name="connsiteY90" fmla="*/ 1126067 h 1540934"/>
              <a:gd name="connsiteX91" fmla="*/ 4775200 w 7831667"/>
              <a:gd name="connsiteY91" fmla="*/ 1100667 h 1540934"/>
              <a:gd name="connsiteX92" fmla="*/ 4842934 w 7831667"/>
              <a:gd name="connsiteY92" fmla="*/ 1058334 h 1540934"/>
              <a:gd name="connsiteX93" fmla="*/ 4876800 w 7831667"/>
              <a:gd name="connsiteY93" fmla="*/ 1032934 h 1540934"/>
              <a:gd name="connsiteX94" fmla="*/ 4953000 w 7831667"/>
              <a:gd name="connsiteY94" fmla="*/ 982134 h 1540934"/>
              <a:gd name="connsiteX95" fmla="*/ 4995334 w 7831667"/>
              <a:gd name="connsiteY95" fmla="*/ 948267 h 1540934"/>
              <a:gd name="connsiteX96" fmla="*/ 5046134 w 7831667"/>
              <a:gd name="connsiteY96" fmla="*/ 880534 h 1540934"/>
              <a:gd name="connsiteX97" fmla="*/ 5096934 w 7831667"/>
              <a:gd name="connsiteY97" fmla="*/ 812800 h 1540934"/>
              <a:gd name="connsiteX98" fmla="*/ 5122334 w 7831667"/>
              <a:gd name="connsiteY98" fmla="*/ 770467 h 1540934"/>
              <a:gd name="connsiteX99" fmla="*/ 5173134 w 7831667"/>
              <a:gd name="connsiteY99" fmla="*/ 719667 h 1540934"/>
              <a:gd name="connsiteX100" fmla="*/ 5207000 w 7831667"/>
              <a:gd name="connsiteY100" fmla="*/ 660400 h 1540934"/>
              <a:gd name="connsiteX101" fmla="*/ 5266267 w 7831667"/>
              <a:gd name="connsiteY101" fmla="*/ 558800 h 1540934"/>
              <a:gd name="connsiteX102" fmla="*/ 5520267 w 7831667"/>
              <a:gd name="connsiteY102" fmla="*/ 211667 h 1540934"/>
              <a:gd name="connsiteX103" fmla="*/ 5621867 w 7831667"/>
              <a:gd name="connsiteY103" fmla="*/ 135467 h 1540934"/>
              <a:gd name="connsiteX104" fmla="*/ 5655734 w 7831667"/>
              <a:gd name="connsiteY104" fmla="*/ 110067 h 1540934"/>
              <a:gd name="connsiteX105" fmla="*/ 5681134 w 7831667"/>
              <a:gd name="connsiteY105" fmla="*/ 84667 h 1540934"/>
              <a:gd name="connsiteX106" fmla="*/ 5731934 w 7831667"/>
              <a:gd name="connsiteY106" fmla="*/ 50800 h 1540934"/>
              <a:gd name="connsiteX107" fmla="*/ 5791200 w 7831667"/>
              <a:gd name="connsiteY107" fmla="*/ 16934 h 1540934"/>
              <a:gd name="connsiteX108" fmla="*/ 5833534 w 7831667"/>
              <a:gd name="connsiteY108" fmla="*/ 0 h 1540934"/>
              <a:gd name="connsiteX109" fmla="*/ 5952067 w 7831667"/>
              <a:gd name="connsiteY109" fmla="*/ 8467 h 1540934"/>
              <a:gd name="connsiteX110" fmla="*/ 6002867 w 7831667"/>
              <a:gd name="connsiteY110" fmla="*/ 16934 h 1540934"/>
              <a:gd name="connsiteX111" fmla="*/ 6062134 w 7831667"/>
              <a:gd name="connsiteY111" fmla="*/ 59267 h 1540934"/>
              <a:gd name="connsiteX112" fmla="*/ 6087534 w 7831667"/>
              <a:gd name="connsiteY112" fmla="*/ 93134 h 1540934"/>
              <a:gd name="connsiteX113" fmla="*/ 6163734 w 7831667"/>
              <a:gd name="connsiteY113" fmla="*/ 127000 h 1540934"/>
              <a:gd name="connsiteX114" fmla="*/ 6239934 w 7831667"/>
              <a:gd name="connsiteY114" fmla="*/ 152400 h 1540934"/>
              <a:gd name="connsiteX115" fmla="*/ 6307667 w 7831667"/>
              <a:gd name="connsiteY115" fmla="*/ 186267 h 1540934"/>
              <a:gd name="connsiteX116" fmla="*/ 6341534 w 7831667"/>
              <a:gd name="connsiteY116" fmla="*/ 194734 h 1540934"/>
              <a:gd name="connsiteX117" fmla="*/ 6366934 w 7831667"/>
              <a:gd name="connsiteY117" fmla="*/ 211667 h 1540934"/>
              <a:gd name="connsiteX118" fmla="*/ 6426200 w 7831667"/>
              <a:gd name="connsiteY118" fmla="*/ 237067 h 1540934"/>
              <a:gd name="connsiteX119" fmla="*/ 6460067 w 7831667"/>
              <a:gd name="connsiteY119" fmla="*/ 262467 h 1540934"/>
              <a:gd name="connsiteX120" fmla="*/ 6502400 w 7831667"/>
              <a:gd name="connsiteY120" fmla="*/ 287867 h 1540934"/>
              <a:gd name="connsiteX121" fmla="*/ 6544734 w 7831667"/>
              <a:gd name="connsiteY121" fmla="*/ 330200 h 1540934"/>
              <a:gd name="connsiteX122" fmla="*/ 6620934 w 7831667"/>
              <a:gd name="connsiteY122" fmla="*/ 364067 h 1540934"/>
              <a:gd name="connsiteX123" fmla="*/ 6705600 w 7831667"/>
              <a:gd name="connsiteY123" fmla="*/ 431800 h 1540934"/>
              <a:gd name="connsiteX124" fmla="*/ 6756400 w 7831667"/>
              <a:gd name="connsiteY124" fmla="*/ 457200 h 1540934"/>
              <a:gd name="connsiteX125" fmla="*/ 6773334 w 7831667"/>
              <a:gd name="connsiteY125" fmla="*/ 474134 h 1540934"/>
              <a:gd name="connsiteX126" fmla="*/ 6832600 w 7831667"/>
              <a:gd name="connsiteY126" fmla="*/ 516467 h 1540934"/>
              <a:gd name="connsiteX127" fmla="*/ 6874934 w 7831667"/>
              <a:gd name="connsiteY127" fmla="*/ 524934 h 1540934"/>
              <a:gd name="connsiteX128" fmla="*/ 6917267 w 7831667"/>
              <a:gd name="connsiteY128" fmla="*/ 541867 h 1540934"/>
              <a:gd name="connsiteX129" fmla="*/ 7103534 w 7831667"/>
              <a:gd name="connsiteY129" fmla="*/ 524934 h 1540934"/>
              <a:gd name="connsiteX130" fmla="*/ 7239000 w 7831667"/>
              <a:gd name="connsiteY130" fmla="*/ 482600 h 1540934"/>
              <a:gd name="connsiteX131" fmla="*/ 7433734 w 7831667"/>
              <a:gd name="connsiteY131" fmla="*/ 448734 h 1540934"/>
              <a:gd name="connsiteX132" fmla="*/ 7476067 w 7831667"/>
              <a:gd name="connsiteY132" fmla="*/ 474134 h 1540934"/>
              <a:gd name="connsiteX133" fmla="*/ 7526867 w 7831667"/>
              <a:gd name="connsiteY133" fmla="*/ 558800 h 1540934"/>
              <a:gd name="connsiteX134" fmla="*/ 7577667 w 7831667"/>
              <a:gd name="connsiteY134" fmla="*/ 702734 h 1540934"/>
              <a:gd name="connsiteX135" fmla="*/ 7586134 w 7831667"/>
              <a:gd name="connsiteY135" fmla="*/ 745067 h 1540934"/>
              <a:gd name="connsiteX136" fmla="*/ 7628467 w 7831667"/>
              <a:gd name="connsiteY136" fmla="*/ 778934 h 1540934"/>
              <a:gd name="connsiteX137" fmla="*/ 7662334 w 7831667"/>
              <a:gd name="connsiteY137" fmla="*/ 795867 h 1540934"/>
              <a:gd name="connsiteX138" fmla="*/ 7696200 w 7831667"/>
              <a:gd name="connsiteY138" fmla="*/ 821267 h 1540934"/>
              <a:gd name="connsiteX139" fmla="*/ 7730067 w 7831667"/>
              <a:gd name="connsiteY139" fmla="*/ 829734 h 1540934"/>
              <a:gd name="connsiteX140" fmla="*/ 7763934 w 7831667"/>
              <a:gd name="connsiteY140" fmla="*/ 846667 h 1540934"/>
              <a:gd name="connsiteX141" fmla="*/ 7814734 w 7831667"/>
              <a:gd name="connsiteY141" fmla="*/ 897467 h 1540934"/>
              <a:gd name="connsiteX142" fmla="*/ 7831667 w 7831667"/>
              <a:gd name="connsiteY14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588934 w 7831667"/>
              <a:gd name="connsiteY89" fmla="*/ 1202267 h 1540934"/>
              <a:gd name="connsiteX90" fmla="*/ 4724400 w 7831667"/>
              <a:gd name="connsiteY90" fmla="*/ 1071639 h 1540934"/>
              <a:gd name="connsiteX91" fmla="*/ 4775200 w 7831667"/>
              <a:gd name="connsiteY91" fmla="*/ 1100667 h 1540934"/>
              <a:gd name="connsiteX92" fmla="*/ 4842934 w 7831667"/>
              <a:gd name="connsiteY92" fmla="*/ 1058334 h 1540934"/>
              <a:gd name="connsiteX93" fmla="*/ 4876800 w 7831667"/>
              <a:gd name="connsiteY93" fmla="*/ 1032934 h 1540934"/>
              <a:gd name="connsiteX94" fmla="*/ 4953000 w 7831667"/>
              <a:gd name="connsiteY94" fmla="*/ 982134 h 1540934"/>
              <a:gd name="connsiteX95" fmla="*/ 4995334 w 7831667"/>
              <a:gd name="connsiteY95" fmla="*/ 948267 h 1540934"/>
              <a:gd name="connsiteX96" fmla="*/ 5046134 w 7831667"/>
              <a:gd name="connsiteY96" fmla="*/ 880534 h 1540934"/>
              <a:gd name="connsiteX97" fmla="*/ 5096934 w 7831667"/>
              <a:gd name="connsiteY97" fmla="*/ 812800 h 1540934"/>
              <a:gd name="connsiteX98" fmla="*/ 5122334 w 7831667"/>
              <a:gd name="connsiteY98" fmla="*/ 770467 h 1540934"/>
              <a:gd name="connsiteX99" fmla="*/ 5173134 w 7831667"/>
              <a:gd name="connsiteY99" fmla="*/ 719667 h 1540934"/>
              <a:gd name="connsiteX100" fmla="*/ 5207000 w 7831667"/>
              <a:gd name="connsiteY100" fmla="*/ 660400 h 1540934"/>
              <a:gd name="connsiteX101" fmla="*/ 5266267 w 7831667"/>
              <a:gd name="connsiteY101" fmla="*/ 558800 h 1540934"/>
              <a:gd name="connsiteX102" fmla="*/ 5520267 w 7831667"/>
              <a:gd name="connsiteY102" fmla="*/ 211667 h 1540934"/>
              <a:gd name="connsiteX103" fmla="*/ 5621867 w 7831667"/>
              <a:gd name="connsiteY103" fmla="*/ 135467 h 1540934"/>
              <a:gd name="connsiteX104" fmla="*/ 5655734 w 7831667"/>
              <a:gd name="connsiteY104" fmla="*/ 110067 h 1540934"/>
              <a:gd name="connsiteX105" fmla="*/ 5681134 w 7831667"/>
              <a:gd name="connsiteY105" fmla="*/ 84667 h 1540934"/>
              <a:gd name="connsiteX106" fmla="*/ 5731934 w 7831667"/>
              <a:gd name="connsiteY106" fmla="*/ 50800 h 1540934"/>
              <a:gd name="connsiteX107" fmla="*/ 5791200 w 7831667"/>
              <a:gd name="connsiteY107" fmla="*/ 16934 h 1540934"/>
              <a:gd name="connsiteX108" fmla="*/ 5833534 w 7831667"/>
              <a:gd name="connsiteY108" fmla="*/ 0 h 1540934"/>
              <a:gd name="connsiteX109" fmla="*/ 5952067 w 7831667"/>
              <a:gd name="connsiteY109" fmla="*/ 8467 h 1540934"/>
              <a:gd name="connsiteX110" fmla="*/ 6002867 w 7831667"/>
              <a:gd name="connsiteY110" fmla="*/ 16934 h 1540934"/>
              <a:gd name="connsiteX111" fmla="*/ 6062134 w 7831667"/>
              <a:gd name="connsiteY111" fmla="*/ 59267 h 1540934"/>
              <a:gd name="connsiteX112" fmla="*/ 6087534 w 7831667"/>
              <a:gd name="connsiteY112" fmla="*/ 93134 h 1540934"/>
              <a:gd name="connsiteX113" fmla="*/ 6163734 w 7831667"/>
              <a:gd name="connsiteY113" fmla="*/ 127000 h 1540934"/>
              <a:gd name="connsiteX114" fmla="*/ 6239934 w 7831667"/>
              <a:gd name="connsiteY114" fmla="*/ 152400 h 1540934"/>
              <a:gd name="connsiteX115" fmla="*/ 6307667 w 7831667"/>
              <a:gd name="connsiteY115" fmla="*/ 186267 h 1540934"/>
              <a:gd name="connsiteX116" fmla="*/ 6341534 w 7831667"/>
              <a:gd name="connsiteY116" fmla="*/ 194734 h 1540934"/>
              <a:gd name="connsiteX117" fmla="*/ 6366934 w 7831667"/>
              <a:gd name="connsiteY117" fmla="*/ 211667 h 1540934"/>
              <a:gd name="connsiteX118" fmla="*/ 6426200 w 7831667"/>
              <a:gd name="connsiteY118" fmla="*/ 237067 h 1540934"/>
              <a:gd name="connsiteX119" fmla="*/ 6460067 w 7831667"/>
              <a:gd name="connsiteY119" fmla="*/ 262467 h 1540934"/>
              <a:gd name="connsiteX120" fmla="*/ 6502400 w 7831667"/>
              <a:gd name="connsiteY120" fmla="*/ 287867 h 1540934"/>
              <a:gd name="connsiteX121" fmla="*/ 6544734 w 7831667"/>
              <a:gd name="connsiteY121" fmla="*/ 330200 h 1540934"/>
              <a:gd name="connsiteX122" fmla="*/ 6620934 w 7831667"/>
              <a:gd name="connsiteY122" fmla="*/ 364067 h 1540934"/>
              <a:gd name="connsiteX123" fmla="*/ 6705600 w 7831667"/>
              <a:gd name="connsiteY123" fmla="*/ 431800 h 1540934"/>
              <a:gd name="connsiteX124" fmla="*/ 6756400 w 7831667"/>
              <a:gd name="connsiteY124" fmla="*/ 457200 h 1540934"/>
              <a:gd name="connsiteX125" fmla="*/ 6773334 w 7831667"/>
              <a:gd name="connsiteY125" fmla="*/ 474134 h 1540934"/>
              <a:gd name="connsiteX126" fmla="*/ 6832600 w 7831667"/>
              <a:gd name="connsiteY126" fmla="*/ 516467 h 1540934"/>
              <a:gd name="connsiteX127" fmla="*/ 6874934 w 7831667"/>
              <a:gd name="connsiteY127" fmla="*/ 524934 h 1540934"/>
              <a:gd name="connsiteX128" fmla="*/ 6917267 w 7831667"/>
              <a:gd name="connsiteY128" fmla="*/ 541867 h 1540934"/>
              <a:gd name="connsiteX129" fmla="*/ 7103534 w 7831667"/>
              <a:gd name="connsiteY129" fmla="*/ 524934 h 1540934"/>
              <a:gd name="connsiteX130" fmla="*/ 7239000 w 7831667"/>
              <a:gd name="connsiteY130" fmla="*/ 482600 h 1540934"/>
              <a:gd name="connsiteX131" fmla="*/ 7433734 w 7831667"/>
              <a:gd name="connsiteY131" fmla="*/ 448734 h 1540934"/>
              <a:gd name="connsiteX132" fmla="*/ 7476067 w 7831667"/>
              <a:gd name="connsiteY132" fmla="*/ 474134 h 1540934"/>
              <a:gd name="connsiteX133" fmla="*/ 7526867 w 7831667"/>
              <a:gd name="connsiteY133" fmla="*/ 558800 h 1540934"/>
              <a:gd name="connsiteX134" fmla="*/ 7577667 w 7831667"/>
              <a:gd name="connsiteY134" fmla="*/ 702734 h 1540934"/>
              <a:gd name="connsiteX135" fmla="*/ 7586134 w 7831667"/>
              <a:gd name="connsiteY135" fmla="*/ 745067 h 1540934"/>
              <a:gd name="connsiteX136" fmla="*/ 7628467 w 7831667"/>
              <a:gd name="connsiteY136" fmla="*/ 778934 h 1540934"/>
              <a:gd name="connsiteX137" fmla="*/ 7662334 w 7831667"/>
              <a:gd name="connsiteY137" fmla="*/ 795867 h 1540934"/>
              <a:gd name="connsiteX138" fmla="*/ 7696200 w 7831667"/>
              <a:gd name="connsiteY138" fmla="*/ 821267 h 1540934"/>
              <a:gd name="connsiteX139" fmla="*/ 7730067 w 7831667"/>
              <a:gd name="connsiteY139" fmla="*/ 829734 h 1540934"/>
              <a:gd name="connsiteX140" fmla="*/ 7763934 w 7831667"/>
              <a:gd name="connsiteY140" fmla="*/ 846667 h 1540934"/>
              <a:gd name="connsiteX141" fmla="*/ 7814734 w 7831667"/>
              <a:gd name="connsiteY141" fmla="*/ 897467 h 1540934"/>
              <a:gd name="connsiteX142" fmla="*/ 7831667 w 7831667"/>
              <a:gd name="connsiteY14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563534 w 7831667"/>
              <a:gd name="connsiteY88" fmla="*/ 1210734 h 1540934"/>
              <a:gd name="connsiteX89" fmla="*/ 4724400 w 7831667"/>
              <a:gd name="connsiteY89" fmla="*/ 1071639 h 1540934"/>
              <a:gd name="connsiteX90" fmla="*/ 4775200 w 7831667"/>
              <a:gd name="connsiteY90" fmla="*/ 1100667 h 1540934"/>
              <a:gd name="connsiteX91" fmla="*/ 4842934 w 7831667"/>
              <a:gd name="connsiteY91" fmla="*/ 1058334 h 1540934"/>
              <a:gd name="connsiteX92" fmla="*/ 4876800 w 7831667"/>
              <a:gd name="connsiteY92" fmla="*/ 1032934 h 1540934"/>
              <a:gd name="connsiteX93" fmla="*/ 4953000 w 7831667"/>
              <a:gd name="connsiteY93" fmla="*/ 982134 h 1540934"/>
              <a:gd name="connsiteX94" fmla="*/ 4995334 w 7831667"/>
              <a:gd name="connsiteY94" fmla="*/ 948267 h 1540934"/>
              <a:gd name="connsiteX95" fmla="*/ 5046134 w 7831667"/>
              <a:gd name="connsiteY95" fmla="*/ 880534 h 1540934"/>
              <a:gd name="connsiteX96" fmla="*/ 5096934 w 7831667"/>
              <a:gd name="connsiteY96" fmla="*/ 812800 h 1540934"/>
              <a:gd name="connsiteX97" fmla="*/ 5122334 w 7831667"/>
              <a:gd name="connsiteY97" fmla="*/ 770467 h 1540934"/>
              <a:gd name="connsiteX98" fmla="*/ 5173134 w 7831667"/>
              <a:gd name="connsiteY98" fmla="*/ 719667 h 1540934"/>
              <a:gd name="connsiteX99" fmla="*/ 5207000 w 7831667"/>
              <a:gd name="connsiteY99" fmla="*/ 660400 h 1540934"/>
              <a:gd name="connsiteX100" fmla="*/ 5266267 w 7831667"/>
              <a:gd name="connsiteY100" fmla="*/ 558800 h 1540934"/>
              <a:gd name="connsiteX101" fmla="*/ 5520267 w 7831667"/>
              <a:gd name="connsiteY101" fmla="*/ 211667 h 1540934"/>
              <a:gd name="connsiteX102" fmla="*/ 5621867 w 7831667"/>
              <a:gd name="connsiteY102" fmla="*/ 135467 h 1540934"/>
              <a:gd name="connsiteX103" fmla="*/ 5655734 w 7831667"/>
              <a:gd name="connsiteY103" fmla="*/ 110067 h 1540934"/>
              <a:gd name="connsiteX104" fmla="*/ 5681134 w 7831667"/>
              <a:gd name="connsiteY104" fmla="*/ 84667 h 1540934"/>
              <a:gd name="connsiteX105" fmla="*/ 5731934 w 7831667"/>
              <a:gd name="connsiteY105" fmla="*/ 50800 h 1540934"/>
              <a:gd name="connsiteX106" fmla="*/ 5791200 w 7831667"/>
              <a:gd name="connsiteY106" fmla="*/ 16934 h 1540934"/>
              <a:gd name="connsiteX107" fmla="*/ 5833534 w 7831667"/>
              <a:gd name="connsiteY107" fmla="*/ 0 h 1540934"/>
              <a:gd name="connsiteX108" fmla="*/ 5952067 w 7831667"/>
              <a:gd name="connsiteY108" fmla="*/ 8467 h 1540934"/>
              <a:gd name="connsiteX109" fmla="*/ 6002867 w 7831667"/>
              <a:gd name="connsiteY109" fmla="*/ 16934 h 1540934"/>
              <a:gd name="connsiteX110" fmla="*/ 6062134 w 7831667"/>
              <a:gd name="connsiteY110" fmla="*/ 59267 h 1540934"/>
              <a:gd name="connsiteX111" fmla="*/ 6087534 w 7831667"/>
              <a:gd name="connsiteY111" fmla="*/ 93134 h 1540934"/>
              <a:gd name="connsiteX112" fmla="*/ 6163734 w 7831667"/>
              <a:gd name="connsiteY112" fmla="*/ 127000 h 1540934"/>
              <a:gd name="connsiteX113" fmla="*/ 6239934 w 7831667"/>
              <a:gd name="connsiteY113" fmla="*/ 152400 h 1540934"/>
              <a:gd name="connsiteX114" fmla="*/ 6307667 w 7831667"/>
              <a:gd name="connsiteY114" fmla="*/ 186267 h 1540934"/>
              <a:gd name="connsiteX115" fmla="*/ 6341534 w 7831667"/>
              <a:gd name="connsiteY115" fmla="*/ 194734 h 1540934"/>
              <a:gd name="connsiteX116" fmla="*/ 6366934 w 7831667"/>
              <a:gd name="connsiteY116" fmla="*/ 211667 h 1540934"/>
              <a:gd name="connsiteX117" fmla="*/ 6426200 w 7831667"/>
              <a:gd name="connsiteY117" fmla="*/ 237067 h 1540934"/>
              <a:gd name="connsiteX118" fmla="*/ 6460067 w 7831667"/>
              <a:gd name="connsiteY118" fmla="*/ 262467 h 1540934"/>
              <a:gd name="connsiteX119" fmla="*/ 6502400 w 7831667"/>
              <a:gd name="connsiteY119" fmla="*/ 287867 h 1540934"/>
              <a:gd name="connsiteX120" fmla="*/ 6544734 w 7831667"/>
              <a:gd name="connsiteY120" fmla="*/ 330200 h 1540934"/>
              <a:gd name="connsiteX121" fmla="*/ 6620934 w 7831667"/>
              <a:gd name="connsiteY121" fmla="*/ 364067 h 1540934"/>
              <a:gd name="connsiteX122" fmla="*/ 6705600 w 7831667"/>
              <a:gd name="connsiteY122" fmla="*/ 431800 h 1540934"/>
              <a:gd name="connsiteX123" fmla="*/ 6756400 w 7831667"/>
              <a:gd name="connsiteY123" fmla="*/ 457200 h 1540934"/>
              <a:gd name="connsiteX124" fmla="*/ 6773334 w 7831667"/>
              <a:gd name="connsiteY124" fmla="*/ 474134 h 1540934"/>
              <a:gd name="connsiteX125" fmla="*/ 6832600 w 7831667"/>
              <a:gd name="connsiteY125" fmla="*/ 516467 h 1540934"/>
              <a:gd name="connsiteX126" fmla="*/ 6874934 w 7831667"/>
              <a:gd name="connsiteY126" fmla="*/ 524934 h 1540934"/>
              <a:gd name="connsiteX127" fmla="*/ 6917267 w 7831667"/>
              <a:gd name="connsiteY127" fmla="*/ 541867 h 1540934"/>
              <a:gd name="connsiteX128" fmla="*/ 7103534 w 7831667"/>
              <a:gd name="connsiteY128" fmla="*/ 524934 h 1540934"/>
              <a:gd name="connsiteX129" fmla="*/ 7239000 w 7831667"/>
              <a:gd name="connsiteY129" fmla="*/ 482600 h 1540934"/>
              <a:gd name="connsiteX130" fmla="*/ 7433734 w 7831667"/>
              <a:gd name="connsiteY130" fmla="*/ 448734 h 1540934"/>
              <a:gd name="connsiteX131" fmla="*/ 7476067 w 7831667"/>
              <a:gd name="connsiteY131" fmla="*/ 474134 h 1540934"/>
              <a:gd name="connsiteX132" fmla="*/ 7526867 w 7831667"/>
              <a:gd name="connsiteY132" fmla="*/ 558800 h 1540934"/>
              <a:gd name="connsiteX133" fmla="*/ 7577667 w 7831667"/>
              <a:gd name="connsiteY133" fmla="*/ 702734 h 1540934"/>
              <a:gd name="connsiteX134" fmla="*/ 7586134 w 7831667"/>
              <a:gd name="connsiteY134" fmla="*/ 745067 h 1540934"/>
              <a:gd name="connsiteX135" fmla="*/ 7628467 w 7831667"/>
              <a:gd name="connsiteY135" fmla="*/ 778934 h 1540934"/>
              <a:gd name="connsiteX136" fmla="*/ 7662334 w 7831667"/>
              <a:gd name="connsiteY136" fmla="*/ 795867 h 1540934"/>
              <a:gd name="connsiteX137" fmla="*/ 7696200 w 7831667"/>
              <a:gd name="connsiteY137" fmla="*/ 821267 h 1540934"/>
              <a:gd name="connsiteX138" fmla="*/ 7730067 w 7831667"/>
              <a:gd name="connsiteY138" fmla="*/ 829734 h 1540934"/>
              <a:gd name="connsiteX139" fmla="*/ 7763934 w 7831667"/>
              <a:gd name="connsiteY139" fmla="*/ 846667 h 1540934"/>
              <a:gd name="connsiteX140" fmla="*/ 7814734 w 7831667"/>
              <a:gd name="connsiteY140" fmla="*/ 897467 h 1540934"/>
              <a:gd name="connsiteX141" fmla="*/ 7831667 w 7831667"/>
              <a:gd name="connsiteY141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521200 w 7831667"/>
              <a:gd name="connsiteY87" fmla="*/ 1227667 h 1540934"/>
              <a:gd name="connsiteX88" fmla="*/ 4724400 w 7831667"/>
              <a:gd name="connsiteY88" fmla="*/ 1071639 h 1540934"/>
              <a:gd name="connsiteX89" fmla="*/ 4775200 w 7831667"/>
              <a:gd name="connsiteY89" fmla="*/ 1100667 h 1540934"/>
              <a:gd name="connsiteX90" fmla="*/ 4842934 w 7831667"/>
              <a:gd name="connsiteY90" fmla="*/ 1058334 h 1540934"/>
              <a:gd name="connsiteX91" fmla="*/ 4876800 w 7831667"/>
              <a:gd name="connsiteY91" fmla="*/ 1032934 h 1540934"/>
              <a:gd name="connsiteX92" fmla="*/ 4953000 w 7831667"/>
              <a:gd name="connsiteY92" fmla="*/ 982134 h 1540934"/>
              <a:gd name="connsiteX93" fmla="*/ 4995334 w 7831667"/>
              <a:gd name="connsiteY93" fmla="*/ 948267 h 1540934"/>
              <a:gd name="connsiteX94" fmla="*/ 5046134 w 7831667"/>
              <a:gd name="connsiteY94" fmla="*/ 880534 h 1540934"/>
              <a:gd name="connsiteX95" fmla="*/ 5096934 w 7831667"/>
              <a:gd name="connsiteY95" fmla="*/ 812800 h 1540934"/>
              <a:gd name="connsiteX96" fmla="*/ 5122334 w 7831667"/>
              <a:gd name="connsiteY96" fmla="*/ 770467 h 1540934"/>
              <a:gd name="connsiteX97" fmla="*/ 5173134 w 7831667"/>
              <a:gd name="connsiteY97" fmla="*/ 719667 h 1540934"/>
              <a:gd name="connsiteX98" fmla="*/ 5207000 w 7831667"/>
              <a:gd name="connsiteY98" fmla="*/ 660400 h 1540934"/>
              <a:gd name="connsiteX99" fmla="*/ 5266267 w 7831667"/>
              <a:gd name="connsiteY99" fmla="*/ 558800 h 1540934"/>
              <a:gd name="connsiteX100" fmla="*/ 5520267 w 7831667"/>
              <a:gd name="connsiteY100" fmla="*/ 211667 h 1540934"/>
              <a:gd name="connsiteX101" fmla="*/ 5621867 w 7831667"/>
              <a:gd name="connsiteY101" fmla="*/ 135467 h 1540934"/>
              <a:gd name="connsiteX102" fmla="*/ 5655734 w 7831667"/>
              <a:gd name="connsiteY102" fmla="*/ 110067 h 1540934"/>
              <a:gd name="connsiteX103" fmla="*/ 5681134 w 7831667"/>
              <a:gd name="connsiteY103" fmla="*/ 84667 h 1540934"/>
              <a:gd name="connsiteX104" fmla="*/ 5731934 w 7831667"/>
              <a:gd name="connsiteY104" fmla="*/ 50800 h 1540934"/>
              <a:gd name="connsiteX105" fmla="*/ 5791200 w 7831667"/>
              <a:gd name="connsiteY105" fmla="*/ 16934 h 1540934"/>
              <a:gd name="connsiteX106" fmla="*/ 5833534 w 7831667"/>
              <a:gd name="connsiteY106" fmla="*/ 0 h 1540934"/>
              <a:gd name="connsiteX107" fmla="*/ 5952067 w 7831667"/>
              <a:gd name="connsiteY107" fmla="*/ 8467 h 1540934"/>
              <a:gd name="connsiteX108" fmla="*/ 6002867 w 7831667"/>
              <a:gd name="connsiteY108" fmla="*/ 16934 h 1540934"/>
              <a:gd name="connsiteX109" fmla="*/ 6062134 w 7831667"/>
              <a:gd name="connsiteY109" fmla="*/ 59267 h 1540934"/>
              <a:gd name="connsiteX110" fmla="*/ 6087534 w 7831667"/>
              <a:gd name="connsiteY110" fmla="*/ 93134 h 1540934"/>
              <a:gd name="connsiteX111" fmla="*/ 6163734 w 7831667"/>
              <a:gd name="connsiteY111" fmla="*/ 127000 h 1540934"/>
              <a:gd name="connsiteX112" fmla="*/ 6239934 w 7831667"/>
              <a:gd name="connsiteY112" fmla="*/ 152400 h 1540934"/>
              <a:gd name="connsiteX113" fmla="*/ 6307667 w 7831667"/>
              <a:gd name="connsiteY113" fmla="*/ 186267 h 1540934"/>
              <a:gd name="connsiteX114" fmla="*/ 6341534 w 7831667"/>
              <a:gd name="connsiteY114" fmla="*/ 194734 h 1540934"/>
              <a:gd name="connsiteX115" fmla="*/ 6366934 w 7831667"/>
              <a:gd name="connsiteY115" fmla="*/ 211667 h 1540934"/>
              <a:gd name="connsiteX116" fmla="*/ 6426200 w 7831667"/>
              <a:gd name="connsiteY116" fmla="*/ 237067 h 1540934"/>
              <a:gd name="connsiteX117" fmla="*/ 6460067 w 7831667"/>
              <a:gd name="connsiteY117" fmla="*/ 262467 h 1540934"/>
              <a:gd name="connsiteX118" fmla="*/ 6502400 w 7831667"/>
              <a:gd name="connsiteY118" fmla="*/ 287867 h 1540934"/>
              <a:gd name="connsiteX119" fmla="*/ 6544734 w 7831667"/>
              <a:gd name="connsiteY119" fmla="*/ 330200 h 1540934"/>
              <a:gd name="connsiteX120" fmla="*/ 6620934 w 7831667"/>
              <a:gd name="connsiteY120" fmla="*/ 364067 h 1540934"/>
              <a:gd name="connsiteX121" fmla="*/ 6705600 w 7831667"/>
              <a:gd name="connsiteY121" fmla="*/ 431800 h 1540934"/>
              <a:gd name="connsiteX122" fmla="*/ 6756400 w 7831667"/>
              <a:gd name="connsiteY122" fmla="*/ 457200 h 1540934"/>
              <a:gd name="connsiteX123" fmla="*/ 6773334 w 7831667"/>
              <a:gd name="connsiteY123" fmla="*/ 474134 h 1540934"/>
              <a:gd name="connsiteX124" fmla="*/ 6832600 w 7831667"/>
              <a:gd name="connsiteY124" fmla="*/ 516467 h 1540934"/>
              <a:gd name="connsiteX125" fmla="*/ 6874934 w 7831667"/>
              <a:gd name="connsiteY125" fmla="*/ 524934 h 1540934"/>
              <a:gd name="connsiteX126" fmla="*/ 6917267 w 7831667"/>
              <a:gd name="connsiteY126" fmla="*/ 541867 h 1540934"/>
              <a:gd name="connsiteX127" fmla="*/ 7103534 w 7831667"/>
              <a:gd name="connsiteY127" fmla="*/ 524934 h 1540934"/>
              <a:gd name="connsiteX128" fmla="*/ 7239000 w 7831667"/>
              <a:gd name="connsiteY128" fmla="*/ 482600 h 1540934"/>
              <a:gd name="connsiteX129" fmla="*/ 7433734 w 7831667"/>
              <a:gd name="connsiteY129" fmla="*/ 448734 h 1540934"/>
              <a:gd name="connsiteX130" fmla="*/ 7476067 w 7831667"/>
              <a:gd name="connsiteY130" fmla="*/ 474134 h 1540934"/>
              <a:gd name="connsiteX131" fmla="*/ 7526867 w 7831667"/>
              <a:gd name="connsiteY131" fmla="*/ 558800 h 1540934"/>
              <a:gd name="connsiteX132" fmla="*/ 7577667 w 7831667"/>
              <a:gd name="connsiteY132" fmla="*/ 702734 h 1540934"/>
              <a:gd name="connsiteX133" fmla="*/ 7586134 w 7831667"/>
              <a:gd name="connsiteY133" fmla="*/ 745067 h 1540934"/>
              <a:gd name="connsiteX134" fmla="*/ 7628467 w 7831667"/>
              <a:gd name="connsiteY134" fmla="*/ 778934 h 1540934"/>
              <a:gd name="connsiteX135" fmla="*/ 7662334 w 7831667"/>
              <a:gd name="connsiteY135" fmla="*/ 795867 h 1540934"/>
              <a:gd name="connsiteX136" fmla="*/ 7696200 w 7831667"/>
              <a:gd name="connsiteY136" fmla="*/ 821267 h 1540934"/>
              <a:gd name="connsiteX137" fmla="*/ 7730067 w 7831667"/>
              <a:gd name="connsiteY137" fmla="*/ 829734 h 1540934"/>
              <a:gd name="connsiteX138" fmla="*/ 7763934 w 7831667"/>
              <a:gd name="connsiteY138" fmla="*/ 846667 h 1540934"/>
              <a:gd name="connsiteX139" fmla="*/ 7814734 w 7831667"/>
              <a:gd name="connsiteY139" fmla="*/ 897467 h 1540934"/>
              <a:gd name="connsiteX140" fmla="*/ 7831667 w 7831667"/>
              <a:gd name="connsiteY140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775200 w 7831667"/>
              <a:gd name="connsiteY89" fmla="*/ 1100667 h 1540934"/>
              <a:gd name="connsiteX90" fmla="*/ 4842934 w 7831667"/>
              <a:gd name="connsiteY90" fmla="*/ 1058334 h 1540934"/>
              <a:gd name="connsiteX91" fmla="*/ 4876800 w 7831667"/>
              <a:gd name="connsiteY91" fmla="*/ 1032934 h 1540934"/>
              <a:gd name="connsiteX92" fmla="*/ 4953000 w 7831667"/>
              <a:gd name="connsiteY92" fmla="*/ 982134 h 1540934"/>
              <a:gd name="connsiteX93" fmla="*/ 4995334 w 7831667"/>
              <a:gd name="connsiteY93" fmla="*/ 948267 h 1540934"/>
              <a:gd name="connsiteX94" fmla="*/ 5046134 w 7831667"/>
              <a:gd name="connsiteY94" fmla="*/ 880534 h 1540934"/>
              <a:gd name="connsiteX95" fmla="*/ 5096934 w 7831667"/>
              <a:gd name="connsiteY95" fmla="*/ 812800 h 1540934"/>
              <a:gd name="connsiteX96" fmla="*/ 5122334 w 7831667"/>
              <a:gd name="connsiteY96" fmla="*/ 770467 h 1540934"/>
              <a:gd name="connsiteX97" fmla="*/ 5173134 w 7831667"/>
              <a:gd name="connsiteY97" fmla="*/ 719667 h 1540934"/>
              <a:gd name="connsiteX98" fmla="*/ 5207000 w 7831667"/>
              <a:gd name="connsiteY98" fmla="*/ 660400 h 1540934"/>
              <a:gd name="connsiteX99" fmla="*/ 5266267 w 7831667"/>
              <a:gd name="connsiteY99" fmla="*/ 558800 h 1540934"/>
              <a:gd name="connsiteX100" fmla="*/ 5520267 w 7831667"/>
              <a:gd name="connsiteY100" fmla="*/ 211667 h 1540934"/>
              <a:gd name="connsiteX101" fmla="*/ 5621867 w 7831667"/>
              <a:gd name="connsiteY101" fmla="*/ 135467 h 1540934"/>
              <a:gd name="connsiteX102" fmla="*/ 5655734 w 7831667"/>
              <a:gd name="connsiteY102" fmla="*/ 110067 h 1540934"/>
              <a:gd name="connsiteX103" fmla="*/ 5681134 w 7831667"/>
              <a:gd name="connsiteY103" fmla="*/ 84667 h 1540934"/>
              <a:gd name="connsiteX104" fmla="*/ 5731934 w 7831667"/>
              <a:gd name="connsiteY104" fmla="*/ 50800 h 1540934"/>
              <a:gd name="connsiteX105" fmla="*/ 5791200 w 7831667"/>
              <a:gd name="connsiteY105" fmla="*/ 16934 h 1540934"/>
              <a:gd name="connsiteX106" fmla="*/ 5833534 w 7831667"/>
              <a:gd name="connsiteY106" fmla="*/ 0 h 1540934"/>
              <a:gd name="connsiteX107" fmla="*/ 5952067 w 7831667"/>
              <a:gd name="connsiteY107" fmla="*/ 8467 h 1540934"/>
              <a:gd name="connsiteX108" fmla="*/ 6002867 w 7831667"/>
              <a:gd name="connsiteY108" fmla="*/ 16934 h 1540934"/>
              <a:gd name="connsiteX109" fmla="*/ 6062134 w 7831667"/>
              <a:gd name="connsiteY109" fmla="*/ 59267 h 1540934"/>
              <a:gd name="connsiteX110" fmla="*/ 6087534 w 7831667"/>
              <a:gd name="connsiteY110" fmla="*/ 93134 h 1540934"/>
              <a:gd name="connsiteX111" fmla="*/ 6163734 w 7831667"/>
              <a:gd name="connsiteY111" fmla="*/ 127000 h 1540934"/>
              <a:gd name="connsiteX112" fmla="*/ 6239934 w 7831667"/>
              <a:gd name="connsiteY112" fmla="*/ 152400 h 1540934"/>
              <a:gd name="connsiteX113" fmla="*/ 6307667 w 7831667"/>
              <a:gd name="connsiteY113" fmla="*/ 186267 h 1540934"/>
              <a:gd name="connsiteX114" fmla="*/ 6341534 w 7831667"/>
              <a:gd name="connsiteY114" fmla="*/ 194734 h 1540934"/>
              <a:gd name="connsiteX115" fmla="*/ 6366934 w 7831667"/>
              <a:gd name="connsiteY115" fmla="*/ 211667 h 1540934"/>
              <a:gd name="connsiteX116" fmla="*/ 6426200 w 7831667"/>
              <a:gd name="connsiteY116" fmla="*/ 237067 h 1540934"/>
              <a:gd name="connsiteX117" fmla="*/ 6460067 w 7831667"/>
              <a:gd name="connsiteY117" fmla="*/ 262467 h 1540934"/>
              <a:gd name="connsiteX118" fmla="*/ 6502400 w 7831667"/>
              <a:gd name="connsiteY118" fmla="*/ 287867 h 1540934"/>
              <a:gd name="connsiteX119" fmla="*/ 6544734 w 7831667"/>
              <a:gd name="connsiteY119" fmla="*/ 330200 h 1540934"/>
              <a:gd name="connsiteX120" fmla="*/ 6620934 w 7831667"/>
              <a:gd name="connsiteY120" fmla="*/ 364067 h 1540934"/>
              <a:gd name="connsiteX121" fmla="*/ 6705600 w 7831667"/>
              <a:gd name="connsiteY121" fmla="*/ 431800 h 1540934"/>
              <a:gd name="connsiteX122" fmla="*/ 6756400 w 7831667"/>
              <a:gd name="connsiteY122" fmla="*/ 457200 h 1540934"/>
              <a:gd name="connsiteX123" fmla="*/ 6773334 w 7831667"/>
              <a:gd name="connsiteY123" fmla="*/ 474134 h 1540934"/>
              <a:gd name="connsiteX124" fmla="*/ 6832600 w 7831667"/>
              <a:gd name="connsiteY124" fmla="*/ 516467 h 1540934"/>
              <a:gd name="connsiteX125" fmla="*/ 6874934 w 7831667"/>
              <a:gd name="connsiteY125" fmla="*/ 524934 h 1540934"/>
              <a:gd name="connsiteX126" fmla="*/ 6917267 w 7831667"/>
              <a:gd name="connsiteY126" fmla="*/ 541867 h 1540934"/>
              <a:gd name="connsiteX127" fmla="*/ 7103534 w 7831667"/>
              <a:gd name="connsiteY127" fmla="*/ 524934 h 1540934"/>
              <a:gd name="connsiteX128" fmla="*/ 7239000 w 7831667"/>
              <a:gd name="connsiteY128" fmla="*/ 482600 h 1540934"/>
              <a:gd name="connsiteX129" fmla="*/ 7433734 w 7831667"/>
              <a:gd name="connsiteY129" fmla="*/ 448734 h 1540934"/>
              <a:gd name="connsiteX130" fmla="*/ 7476067 w 7831667"/>
              <a:gd name="connsiteY130" fmla="*/ 474134 h 1540934"/>
              <a:gd name="connsiteX131" fmla="*/ 7526867 w 7831667"/>
              <a:gd name="connsiteY131" fmla="*/ 558800 h 1540934"/>
              <a:gd name="connsiteX132" fmla="*/ 7577667 w 7831667"/>
              <a:gd name="connsiteY132" fmla="*/ 702734 h 1540934"/>
              <a:gd name="connsiteX133" fmla="*/ 7586134 w 7831667"/>
              <a:gd name="connsiteY133" fmla="*/ 745067 h 1540934"/>
              <a:gd name="connsiteX134" fmla="*/ 7628467 w 7831667"/>
              <a:gd name="connsiteY134" fmla="*/ 778934 h 1540934"/>
              <a:gd name="connsiteX135" fmla="*/ 7662334 w 7831667"/>
              <a:gd name="connsiteY135" fmla="*/ 795867 h 1540934"/>
              <a:gd name="connsiteX136" fmla="*/ 7696200 w 7831667"/>
              <a:gd name="connsiteY136" fmla="*/ 821267 h 1540934"/>
              <a:gd name="connsiteX137" fmla="*/ 7730067 w 7831667"/>
              <a:gd name="connsiteY137" fmla="*/ 829734 h 1540934"/>
              <a:gd name="connsiteX138" fmla="*/ 7763934 w 7831667"/>
              <a:gd name="connsiteY138" fmla="*/ 846667 h 1540934"/>
              <a:gd name="connsiteX139" fmla="*/ 7814734 w 7831667"/>
              <a:gd name="connsiteY139" fmla="*/ 897467 h 1540934"/>
              <a:gd name="connsiteX140" fmla="*/ 7831667 w 7831667"/>
              <a:gd name="connsiteY140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842934 w 7831667"/>
              <a:gd name="connsiteY89" fmla="*/ 1058334 h 1540934"/>
              <a:gd name="connsiteX90" fmla="*/ 4876800 w 7831667"/>
              <a:gd name="connsiteY90" fmla="*/ 1032934 h 1540934"/>
              <a:gd name="connsiteX91" fmla="*/ 4953000 w 7831667"/>
              <a:gd name="connsiteY91" fmla="*/ 982134 h 1540934"/>
              <a:gd name="connsiteX92" fmla="*/ 4995334 w 7831667"/>
              <a:gd name="connsiteY92" fmla="*/ 948267 h 1540934"/>
              <a:gd name="connsiteX93" fmla="*/ 5046134 w 7831667"/>
              <a:gd name="connsiteY93" fmla="*/ 880534 h 1540934"/>
              <a:gd name="connsiteX94" fmla="*/ 5096934 w 7831667"/>
              <a:gd name="connsiteY94" fmla="*/ 812800 h 1540934"/>
              <a:gd name="connsiteX95" fmla="*/ 5122334 w 7831667"/>
              <a:gd name="connsiteY95" fmla="*/ 770467 h 1540934"/>
              <a:gd name="connsiteX96" fmla="*/ 5173134 w 7831667"/>
              <a:gd name="connsiteY96" fmla="*/ 719667 h 1540934"/>
              <a:gd name="connsiteX97" fmla="*/ 5207000 w 7831667"/>
              <a:gd name="connsiteY97" fmla="*/ 660400 h 1540934"/>
              <a:gd name="connsiteX98" fmla="*/ 5266267 w 7831667"/>
              <a:gd name="connsiteY98" fmla="*/ 558800 h 1540934"/>
              <a:gd name="connsiteX99" fmla="*/ 5520267 w 7831667"/>
              <a:gd name="connsiteY99" fmla="*/ 211667 h 1540934"/>
              <a:gd name="connsiteX100" fmla="*/ 5621867 w 7831667"/>
              <a:gd name="connsiteY100" fmla="*/ 135467 h 1540934"/>
              <a:gd name="connsiteX101" fmla="*/ 5655734 w 7831667"/>
              <a:gd name="connsiteY101" fmla="*/ 110067 h 1540934"/>
              <a:gd name="connsiteX102" fmla="*/ 5681134 w 7831667"/>
              <a:gd name="connsiteY102" fmla="*/ 84667 h 1540934"/>
              <a:gd name="connsiteX103" fmla="*/ 5731934 w 7831667"/>
              <a:gd name="connsiteY103" fmla="*/ 50800 h 1540934"/>
              <a:gd name="connsiteX104" fmla="*/ 5791200 w 7831667"/>
              <a:gd name="connsiteY104" fmla="*/ 16934 h 1540934"/>
              <a:gd name="connsiteX105" fmla="*/ 5833534 w 7831667"/>
              <a:gd name="connsiteY105" fmla="*/ 0 h 1540934"/>
              <a:gd name="connsiteX106" fmla="*/ 5952067 w 7831667"/>
              <a:gd name="connsiteY106" fmla="*/ 8467 h 1540934"/>
              <a:gd name="connsiteX107" fmla="*/ 6002867 w 7831667"/>
              <a:gd name="connsiteY107" fmla="*/ 16934 h 1540934"/>
              <a:gd name="connsiteX108" fmla="*/ 6062134 w 7831667"/>
              <a:gd name="connsiteY108" fmla="*/ 59267 h 1540934"/>
              <a:gd name="connsiteX109" fmla="*/ 6087534 w 7831667"/>
              <a:gd name="connsiteY109" fmla="*/ 93134 h 1540934"/>
              <a:gd name="connsiteX110" fmla="*/ 6163734 w 7831667"/>
              <a:gd name="connsiteY110" fmla="*/ 127000 h 1540934"/>
              <a:gd name="connsiteX111" fmla="*/ 6239934 w 7831667"/>
              <a:gd name="connsiteY111" fmla="*/ 152400 h 1540934"/>
              <a:gd name="connsiteX112" fmla="*/ 6307667 w 7831667"/>
              <a:gd name="connsiteY112" fmla="*/ 186267 h 1540934"/>
              <a:gd name="connsiteX113" fmla="*/ 6341534 w 7831667"/>
              <a:gd name="connsiteY113" fmla="*/ 194734 h 1540934"/>
              <a:gd name="connsiteX114" fmla="*/ 6366934 w 7831667"/>
              <a:gd name="connsiteY114" fmla="*/ 211667 h 1540934"/>
              <a:gd name="connsiteX115" fmla="*/ 6426200 w 7831667"/>
              <a:gd name="connsiteY115" fmla="*/ 237067 h 1540934"/>
              <a:gd name="connsiteX116" fmla="*/ 6460067 w 7831667"/>
              <a:gd name="connsiteY116" fmla="*/ 262467 h 1540934"/>
              <a:gd name="connsiteX117" fmla="*/ 6502400 w 7831667"/>
              <a:gd name="connsiteY117" fmla="*/ 287867 h 1540934"/>
              <a:gd name="connsiteX118" fmla="*/ 6544734 w 7831667"/>
              <a:gd name="connsiteY118" fmla="*/ 330200 h 1540934"/>
              <a:gd name="connsiteX119" fmla="*/ 6620934 w 7831667"/>
              <a:gd name="connsiteY119" fmla="*/ 364067 h 1540934"/>
              <a:gd name="connsiteX120" fmla="*/ 6705600 w 7831667"/>
              <a:gd name="connsiteY120" fmla="*/ 431800 h 1540934"/>
              <a:gd name="connsiteX121" fmla="*/ 6756400 w 7831667"/>
              <a:gd name="connsiteY121" fmla="*/ 457200 h 1540934"/>
              <a:gd name="connsiteX122" fmla="*/ 6773334 w 7831667"/>
              <a:gd name="connsiteY122" fmla="*/ 474134 h 1540934"/>
              <a:gd name="connsiteX123" fmla="*/ 6832600 w 7831667"/>
              <a:gd name="connsiteY123" fmla="*/ 516467 h 1540934"/>
              <a:gd name="connsiteX124" fmla="*/ 6874934 w 7831667"/>
              <a:gd name="connsiteY124" fmla="*/ 524934 h 1540934"/>
              <a:gd name="connsiteX125" fmla="*/ 6917267 w 7831667"/>
              <a:gd name="connsiteY125" fmla="*/ 541867 h 1540934"/>
              <a:gd name="connsiteX126" fmla="*/ 7103534 w 7831667"/>
              <a:gd name="connsiteY126" fmla="*/ 524934 h 1540934"/>
              <a:gd name="connsiteX127" fmla="*/ 7239000 w 7831667"/>
              <a:gd name="connsiteY127" fmla="*/ 482600 h 1540934"/>
              <a:gd name="connsiteX128" fmla="*/ 7433734 w 7831667"/>
              <a:gd name="connsiteY128" fmla="*/ 448734 h 1540934"/>
              <a:gd name="connsiteX129" fmla="*/ 7476067 w 7831667"/>
              <a:gd name="connsiteY129" fmla="*/ 474134 h 1540934"/>
              <a:gd name="connsiteX130" fmla="*/ 7526867 w 7831667"/>
              <a:gd name="connsiteY130" fmla="*/ 558800 h 1540934"/>
              <a:gd name="connsiteX131" fmla="*/ 7577667 w 7831667"/>
              <a:gd name="connsiteY131" fmla="*/ 702734 h 1540934"/>
              <a:gd name="connsiteX132" fmla="*/ 7586134 w 7831667"/>
              <a:gd name="connsiteY132" fmla="*/ 745067 h 1540934"/>
              <a:gd name="connsiteX133" fmla="*/ 7628467 w 7831667"/>
              <a:gd name="connsiteY133" fmla="*/ 778934 h 1540934"/>
              <a:gd name="connsiteX134" fmla="*/ 7662334 w 7831667"/>
              <a:gd name="connsiteY134" fmla="*/ 795867 h 1540934"/>
              <a:gd name="connsiteX135" fmla="*/ 7696200 w 7831667"/>
              <a:gd name="connsiteY135" fmla="*/ 821267 h 1540934"/>
              <a:gd name="connsiteX136" fmla="*/ 7730067 w 7831667"/>
              <a:gd name="connsiteY136" fmla="*/ 829734 h 1540934"/>
              <a:gd name="connsiteX137" fmla="*/ 7763934 w 7831667"/>
              <a:gd name="connsiteY137" fmla="*/ 846667 h 1540934"/>
              <a:gd name="connsiteX138" fmla="*/ 7814734 w 7831667"/>
              <a:gd name="connsiteY138" fmla="*/ 897467 h 1540934"/>
              <a:gd name="connsiteX139" fmla="*/ 7831667 w 7831667"/>
              <a:gd name="connsiteY139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842934 w 7831667"/>
              <a:gd name="connsiteY89" fmla="*/ 1058334 h 1540934"/>
              <a:gd name="connsiteX90" fmla="*/ 4953000 w 7831667"/>
              <a:gd name="connsiteY90" fmla="*/ 982134 h 1540934"/>
              <a:gd name="connsiteX91" fmla="*/ 4995334 w 7831667"/>
              <a:gd name="connsiteY91" fmla="*/ 948267 h 1540934"/>
              <a:gd name="connsiteX92" fmla="*/ 5046134 w 7831667"/>
              <a:gd name="connsiteY92" fmla="*/ 880534 h 1540934"/>
              <a:gd name="connsiteX93" fmla="*/ 5096934 w 7831667"/>
              <a:gd name="connsiteY93" fmla="*/ 812800 h 1540934"/>
              <a:gd name="connsiteX94" fmla="*/ 5122334 w 7831667"/>
              <a:gd name="connsiteY94" fmla="*/ 770467 h 1540934"/>
              <a:gd name="connsiteX95" fmla="*/ 5173134 w 7831667"/>
              <a:gd name="connsiteY95" fmla="*/ 719667 h 1540934"/>
              <a:gd name="connsiteX96" fmla="*/ 5207000 w 7831667"/>
              <a:gd name="connsiteY96" fmla="*/ 660400 h 1540934"/>
              <a:gd name="connsiteX97" fmla="*/ 5266267 w 7831667"/>
              <a:gd name="connsiteY97" fmla="*/ 558800 h 1540934"/>
              <a:gd name="connsiteX98" fmla="*/ 5520267 w 7831667"/>
              <a:gd name="connsiteY98" fmla="*/ 211667 h 1540934"/>
              <a:gd name="connsiteX99" fmla="*/ 5621867 w 7831667"/>
              <a:gd name="connsiteY99" fmla="*/ 135467 h 1540934"/>
              <a:gd name="connsiteX100" fmla="*/ 5655734 w 7831667"/>
              <a:gd name="connsiteY100" fmla="*/ 110067 h 1540934"/>
              <a:gd name="connsiteX101" fmla="*/ 5681134 w 7831667"/>
              <a:gd name="connsiteY101" fmla="*/ 84667 h 1540934"/>
              <a:gd name="connsiteX102" fmla="*/ 5731934 w 7831667"/>
              <a:gd name="connsiteY102" fmla="*/ 50800 h 1540934"/>
              <a:gd name="connsiteX103" fmla="*/ 5791200 w 7831667"/>
              <a:gd name="connsiteY103" fmla="*/ 16934 h 1540934"/>
              <a:gd name="connsiteX104" fmla="*/ 5833534 w 7831667"/>
              <a:gd name="connsiteY104" fmla="*/ 0 h 1540934"/>
              <a:gd name="connsiteX105" fmla="*/ 5952067 w 7831667"/>
              <a:gd name="connsiteY105" fmla="*/ 8467 h 1540934"/>
              <a:gd name="connsiteX106" fmla="*/ 6002867 w 7831667"/>
              <a:gd name="connsiteY106" fmla="*/ 16934 h 1540934"/>
              <a:gd name="connsiteX107" fmla="*/ 6062134 w 7831667"/>
              <a:gd name="connsiteY107" fmla="*/ 59267 h 1540934"/>
              <a:gd name="connsiteX108" fmla="*/ 6087534 w 7831667"/>
              <a:gd name="connsiteY108" fmla="*/ 93134 h 1540934"/>
              <a:gd name="connsiteX109" fmla="*/ 6163734 w 7831667"/>
              <a:gd name="connsiteY109" fmla="*/ 127000 h 1540934"/>
              <a:gd name="connsiteX110" fmla="*/ 6239934 w 7831667"/>
              <a:gd name="connsiteY110" fmla="*/ 152400 h 1540934"/>
              <a:gd name="connsiteX111" fmla="*/ 6307667 w 7831667"/>
              <a:gd name="connsiteY111" fmla="*/ 186267 h 1540934"/>
              <a:gd name="connsiteX112" fmla="*/ 6341534 w 7831667"/>
              <a:gd name="connsiteY112" fmla="*/ 194734 h 1540934"/>
              <a:gd name="connsiteX113" fmla="*/ 6366934 w 7831667"/>
              <a:gd name="connsiteY113" fmla="*/ 211667 h 1540934"/>
              <a:gd name="connsiteX114" fmla="*/ 6426200 w 7831667"/>
              <a:gd name="connsiteY114" fmla="*/ 237067 h 1540934"/>
              <a:gd name="connsiteX115" fmla="*/ 6460067 w 7831667"/>
              <a:gd name="connsiteY115" fmla="*/ 262467 h 1540934"/>
              <a:gd name="connsiteX116" fmla="*/ 6502400 w 7831667"/>
              <a:gd name="connsiteY116" fmla="*/ 287867 h 1540934"/>
              <a:gd name="connsiteX117" fmla="*/ 6544734 w 7831667"/>
              <a:gd name="connsiteY117" fmla="*/ 330200 h 1540934"/>
              <a:gd name="connsiteX118" fmla="*/ 6620934 w 7831667"/>
              <a:gd name="connsiteY118" fmla="*/ 364067 h 1540934"/>
              <a:gd name="connsiteX119" fmla="*/ 6705600 w 7831667"/>
              <a:gd name="connsiteY119" fmla="*/ 431800 h 1540934"/>
              <a:gd name="connsiteX120" fmla="*/ 6756400 w 7831667"/>
              <a:gd name="connsiteY120" fmla="*/ 457200 h 1540934"/>
              <a:gd name="connsiteX121" fmla="*/ 6773334 w 7831667"/>
              <a:gd name="connsiteY121" fmla="*/ 474134 h 1540934"/>
              <a:gd name="connsiteX122" fmla="*/ 6832600 w 7831667"/>
              <a:gd name="connsiteY122" fmla="*/ 516467 h 1540934"/>
              <a:gd name="connsiteX123" fmla="*/ 6874934 w 7831667"/>
              <a:gd name="connsiteY123" fmla="*/ 524934 h 1540934"/>
              <a:gd name="connsiteX124" fmla="*/ 6917267 w 7831667"/>
              <a:gd name="connsiteY124" fmla="*/ 541867 h 1540934"/>
              <a:gd name="connsiteX125" fmla="*/ 7103534 w 7831667"/>
              <a:gd name="connsiteY125" fmla="*/ 524934 h 1540934"/>
              <a:gd name="connsiteX126" fmla="*/ 7239000 w 7831667"/>
              <a:gd name="connsiteY126" fmla="*/ 482600 h 1540934"/>
              <a:gd name="connsiteX127" fmla="*/ 7433734 w 7831667"/>
              <a:gd name="connsiteY127" fmla="*/ 448734 h 1540934"/>
              <a:gd name="connsiteX128" fmla="*/ 7476067 w 7831667"/>
              <a:gd name="connsiteY128" fmla="*/ 474134 h 1540934"/>
              <a:gd name="connsiteX129" fmla="*/ 7526867 w 7831667"/>
              <a:gd name="connsiteY129" fmla="*/ 558800 h 1540934"/>
              <a:gd name="connsiteX130" fmla="*/ 7577667 w 7831667"/>
              <a:gd name="connsiteY130" fmla="*/ 702734 h 1540934"/>
              <a:gd name="connsiteX131" fmla="*/ 7586134 w 7831667"/>
              <a:gd name="connsiteY131" fmla="*/ 745067 h 1540934"/>
              <a:gd name="connsiteX132" fmla="*/ 7628467 w 7831667"/>
              <a:gd name="connsiteY132" fmla="*/ 778934 h 1540934"/>
              <a:gd name="connsiteX133" fmla="*/ 7662334 w 7831667"/>
              <a:gd name="connsiteY133" fmla="*/ 795867 h 1540934"/>
              <a:gd name="connsiteX134" fmla="*/ 7696200 w 7831667"/>
              <a:gd name="connsiteY134" fmla="*/ 821267 h 1540934"/>
              <a:gd name="connsiteX135" fmla="*/ 7730067 w 7831667"/>
              <a:gd name="connsiteY135" fmla="*/ 829734 h 1540934"/>
              <a:gd name="connsiteX136" fmla="*/ 7763934 w 7831667"/>
              <a:gd name="connsiteY136" fmla="*/ 846667 h 1540934"/>
              <a:gd name="connsiteX137" fmla="*/ 7814734 w 7831667"/>
              <a:gd name="connsiteY137" fmla="*/ 897467 h 1540934"/>
              <a:gd name="connsiteX138" fmla="*/ 7831667 w 7831667"/>
              <a:gd name="connsiteY138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842934 w 7831667"/>
              <a:gd name="connsiteY89" fmla="*/ 1058334 h 1540934"/>
              <a:gd name="connsiteX90" fmla="*/ 4953000 w 7831667"/>
              <a:gd name="connsiteY90" fmla="*/ 982134 h 1540934"/>
              <a:gd name="connsiteX91" fmla="*/ 4989891 w 7831667"/>
              <a:gd name="connsiteY91" fmla="*/ 872067 h 1540934"/>
              <a:gd name="connsiteX92" fmla="*/ 5046134 w 7831667"/>
              <a:gd name="connsiteY92" fmla="*/ 880534 h 1540934"/>
              <a:gd name="connsiteX93" fmla="*/ 5096934 w 7831667"/>
              <a:gd name="connsiteY93" fmla="*/ 812800 h 1540934"/>
              <a:gd name="connsiteX94" fmla="*/ 5122334 w 7831667"/>
              <a:gd name="connsiteY94" fmla="*/ 770467 h 1540934"/>
              <a:gd name="connsiteX95" fmla="*/ 5173134 w 7831667"/>
              <a:gd name="connsiteY95" fmla="*/ 719667 h 1540934"/>
              <a:gd name="connsiteX96" fmla="*/ 5207000 w 7831667"/>
              <a:gd name="connsiteY96" fmla="*/ 660400 h 1540934"/>
              <a:gd name="connsiteX97" fmla="*/ 5266267 w 7831667"/>
              <a:gd name="connsiteY97" fmla="*/ 558800 h 1540934"/>
              <a:gd name="connsiteX98" fmla="*/ 5520267 w 7831667"/>
              <a:gd name="connsiteY98" fmla="*/ 211667 h 1540934"/>
              <a:gd name="connsiteX99" fmla="*/ 5621867 w 7831667"/>
              <a:gd name="connsiteY99" fmla="*/ 135467 h 1540934"/>
              <a:gd name="connsiteX100" fmla="*/ 5655734 w 7831667"/>
              <a:gd name="connsiteY100" fmla="*/ 110067 h 1540934"/>
              <a:gd name="connsiteX101" fmla="*/ 5681134 w 7831667"/>
              <a:gd name="connsiteY101" fmla="*/ 84667 h 1540934"/>
              <a:gd name="connsiteX102" fmla="*/ 5731934 w 7831667"/>
              <a:gd name="connsiteY102" fmla="*/ 50800 h 1540934"/>
              <a:gd name="connsiteX103" fmla="*/ 5791200 w 7831667"/>
              <a:gd name="connsiteY103" fmla="*/ 16934 h 1540934"/>
              <a:gd name="connsiteX104" fmla="*/ 5833534 w 7831667"/>
              <a:gd name="connsiteY104" fmla="*/ 0 h 1540934"/>
              <a:gd name="connsiteX105" fmla="*/ 5952067 w 7831667"/>
              <a:gd name="connsiteY105" fmla="*/ 8467 h 1540934"/>
              <a:gd name="connsiteX106" fmla="*/ 6002867 w 7831667"/>
              <a:gd name="connsiteY106" fmla="*/ 16934 h 1540934"/>
              <a:gd name="connsiteX107" fmla="*/ 6062134 w 7831667"/>
              <a:gd name="connsiteY107" fmla="*/ 59267 h 1540934"/>
              <a:gd name="connsiteX108" fmla="*/ 6087534 w 7831667"/>
              <a:gd name="connsiteY108" fmla="*/ 93134 h 1540934"/>
              <a:gd name="connsiteX109" fmla="*/ 6163734 w 7831667"/>
              <a:gd name="connsiteY109" fmla="*/ 127000 h 1540934"/>
              <a:gd name="connsiteX110" fmla="*/ 6239934 w 7831667"/>
              <a:gd name="connsiteY110" fmla="*/ 152400 h 1540934"/>
              <a:gd name="connsiteX111" fmla="*/ 6307667 w 7831667"/>
              <a:gd name="connsiteY111" fmla="*/ 186267 h 1540934"/>
              <a:gd name="connsiteX112" fmla="*/ 6341534 w 7831667"/>
              <a:gd name="connsiteY112" fmla="*/ 194734 h 1540934"/>
              <a:gd name="connsiteX113" fmla="*/ 6366934 w 7831667"/>
              <a:gd name="connsiteY113" fmla="*/ 211667 h 1540934"/>
              <a:gd name="connsiteX114" fmla="*/ 6426200 w 7831667"/>
              <a:gd name="connsiteY114" fmla="*/ 237067 h 1540934"/>
              <a:gd name="connsiteX115" fmla="*/ 6460067 w 7831667"/>
              <a:gd name="connsiteY115" fmla="*/ 262467 h 1540934"/>
              <a:gd name="connsiteX116" fmla="*/ 6502400 w 7831667"/>
              <a:gd name="connsiteY116" fmla="*/ 287867 h 1540934"/>
              <a:gd name="connsiteX117" fmla="*/ 6544734 w 7831667"/>
              <a:gd name="connsiteY117" fmla="*/ 330200 h 1540934"/>
              <a:gd name="connsiteX118" fmla="*/ 6620934 w 7831667"/>
              <a:gd name="connsiteY118" fmla="*/ 364067 h 1540934"/>
              <a:gd name="connsiteX119" fmla="*/ 6705600 w 7831667"/>
              <a:gd name="connsiteY119" fmla="*/ 431800 h 1540934"/>
              <a:gd name="connsiteX120" fmla="*/ 6756400 w 7831667"/>
              <a:gd name="connsiteY120" fmla="*/ 457200 h 1540934"/>
              <a:gd name="connsiteX121" fmla="*/ 6773334 w 7831667"/>
              <a:gd name="connsiteY121" fmla="*/ 474134 h 1540934"/>
              <a:gd name="connsiteX122" fmla="*/ 6832600 w 7831667"/>
              <a:gd name="connsiteY122" fmla="*/ 516467 h 1540934"/>
              <a:gd name="connsiteX123" fmla="*/ 6874934 w 7831667"/>
              <a:gd name="connsiteY123" fmla="*/ 524934 h 1540934"/>
              <a:gd name="connsiteX124" fmla="*/ 6917267 w 7831667"/>
              <a:gd name="connsiteY124" fmla="*/ 541867 h 1540934"/>
              <a:gd name="connsiteX125" fmla="*/ 7103534 w 7831667"/>
              <a:gd name="connsiteY125" fmla="*/ 524934 h 1540934"/>
              <a:gd name="connsiteX126" fmla="*/ 7239000 w 7831667"/>
              <a:gd name="connsiteY126" fmla="*/ 482600 h 1540934"/>
              <a:gd name="connsiteX127" fmla="*/ 7433734 w 7831667"/>
              <a:gd name="connsiteY127" fmla="*/ 448734 h 1540934"/>
              <a:gd name="connsiteX128" fmla="*/ 7476067 w 7831667"/>
              <a:gd name="connsiteY128" fmla="*/ 474134 h 1540934"/>
              <a:gd name="connsiteX129" fmla="*/ 7526867 w 7831667"/>
              <a:gd name="connsiteY129" fmla="*/ 558800 h 1540934"/>
              <a:gd name="connsiteX130" fmla="*/ 7577667 w 7831667"/>
              <a:gd name="connsiteY130" fmla="*/ 702734 h 1540934"/>
              <a:gd name="connsiteX131" fmla="*/ 7586134 w 7831667"/>
              <a:gd name="connsiteY131" fmla="*/ 745067 h 1540934"/>
              <a:gd name="connsiteX132" fmla="*/ 7628467 w 7831667"/>
              <a:gd name="connsiteY132" fmla="*/ 778934 h 1540934"/>
              <a:gd name="connsiteX133" fmla="*/ 7662334 w 7831667"/>
              <a:gd name="connsiteY133" fmla="*/ 795867 h 1540934"/>
              <a:gd name="connsiteX134" fmla="*/ 7696200 w 7831667"/>
              <a:gd name="connsiteY134" fmla="*/ 821267 h 1540934"/>
              <a:gd name="connsiteX135" fmla="*/ 7730067 w 7831667"/>
              <a:gd name="connsiteY135" fmla="*/ 829734 h 1540934"/>
              <a:gd name="connsiteX136" fmla="*/ 7763934 w 7831667"/>
              <a:gd name="connsiteY136" fmla="*/ 846667 h 1540934"/>
              <a:gd name="connsiteX137" fmla="*/ 7814734 w 7831667"/>
              <a:gd name="connsiteY137" fmla="*/ 897467 h 1540934"/>
              <a:gd name="connsiteX138" fmla="*/ 7831667 w 7831667"/>
              <a:gd name="connsiteY138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953000 w 7831667"/>
              <a:gd name="connsiteY89" fmla="*/ 982134 h 1540934"/>
              <a:gd name="connsiteX90" fmla="*/ 4989891 w 7831667"/>
              <a:gd name="connsiteY90" fmla="*/ 872067 h 1540934"/>
              <a:gd name="connsiteX91" fmla="*/ 5046134 w 7831667"/>
              <a:gd name="connsiteY91" fmla="*/ 880534 h 1540934"/>
              <a:gd name="connsiteX92" fmla="*/ 5096934 w 7831667"/>
              <a:gd name="connsiteY92" fmla="*/ 812800 h 1540934"/>
              <a:gd name="connsiteX93" fmla="*/ 5122334 w 7831667"/>
              <a:gd name="connsiteY93" fmla="*/ 770467 h 1540934"/>
              <a:gd name="connsiteX94" fmla="*/ 5173134 w 7831667"/>
              <a:gd name="connsiteY94" fmla="*/ 719667 h 1540934"/>
              <a:gd name="connsiteX95" fmla="*/ 5207000 w 7831667"/>
              <a:gd name="connsiteY95" fmla="*/ 660400 h 1540934"/>
              <a:gd name="connsiteX96" fmla="*/ 5266267 w 7831667"/>
              <a:gd name="connsiteY96" fmla="*/ 558800 h 1540934"/>
              <a:gd name="connsiteX97" fmla="*/ 5520267 w 7831667"/>
              <a:gd name="connsiteY97" fmla="*/ 211667 h 1540934"/>
              <a:gd name="connsiteX98" fmla="*/ 5621867 w 7831667"/>
              <a:gd name="connsiteY98" fmla="*/ 135467 h 1540934"/>
              <a:gd name="connsiteX99" fmla="*/ 5655734 w 7831667"/>
              <a:gd name="connsiteY99" fmla="*/ 110067 h 1540934"/>
              <a:gd name="connsiteX100" fmla="*/ 5681134 w 7831667"/>
              <a:gd name="connsiteY100" fmla="*/ 84667 h 1540934"/>
              <a:gd name="connsiteX101" fmla="*/ 5731934 w 7831667"/>
              <a:gd name="connsiteY101" fmla="*/ 50800 h 1540934"/>
              <a:gd name="connsiteX102" fmla="*/ 5791200 w 7831667"/>
              <a:gd name="connsiteY102" fmla="*/ 16934 h 1540934"/>
              <a:gd name="connsiteX103" fmla="*/ 5833534 w 7831667"/>
              <a:gd name="connsiteY103" fmla="*/ 0 h 1540934"/>
              <a:gd name="connsiteX104" fmla="*/ 5952067 w 7831667"/>
              <a:gd name="connsiteY104" fmla="*/ 8467 h 1540934"/>
              <a:gd name="connsiteX105" fmla="*/ 6002867 w 7831667"/>
              <a:gd name="connsiteY105" fmla="*/ 16934 h 1540934"/>
              <a:gd name="connsiteX106" fmla="*/ 6062134 w 7831667"/>
              <a:gd name="connsiteY106" fmla="*/ 59267 h 1540934"/>
              <a:gd name="connsiteX107" fmla="*/ 6087534 w 7831667"/>
              <a:gd name="connsiteY107" fmla="*/ 93134 h 1540934"/>
              <a:gd name="connsiteX108" fmla="*/ 6163734 w 7831667"/>
              <a:gd name="connsiteY108" fmla="*/ 127000 h 1540934"/>
              <a:gd name="connsiteX109" fmla="*/ 6239934 w 7831667"/>
              <a:gd name="connsiteY109" fmla="*/ 152400 h 1540934"/>
              <a:gd name="connsiteX110" fmla="*/ 6307667 w 7831667"/>
              <a:gd name="connsiteY110" fmla="*/ 186267 h 1540934"/>
              <a:gd name="connsiteX111" fmla="*/ 6341534 w 7831667"/>
              <a:gd name="connsiteY111" fmla="*/ 194734 h 1540934"/>
              <a:gd name="connsiteX112" fmla="*/ 6366934 w 7831667"/>
              <a:gd name="connsiteY112" fmla="*/ 211667 h 1540934"/>
              <a:gd name="connsiteX113" fmla="*/ 6426200 w 7831667"/>
              <a:gd name="connsiteY113" fmla="*/ 237067 h 1540934"/>
              <a:gd name="connsiteX114" fmla="*/ 6460067 w 7831667"/>
              <a:gd name="connsiteY114" fmla="*/ 262467 h 1540934"/>
              <a:gd name="connsiteX115" fmla="*/ 6502400 w 7831667"/>
              <a:gd name="connsiteY115" fmla="*/ 287867 h 1540934"/>
              <a:gd name="connsiteX116" fmla="*/ 6544734 w 7831667"/>
              <a:gd name="connsiteY116" fmla="*/ 330200 h 1540934"/>
              <a:gd name="connsiteX117" fmla="*/ 6620934 w 7831667"/>
              <a:gd name="connsiteY117" fmla="*/ 364067 h 1540934"/>
              <a:gd name="connsiteX118" fmla="*/ 6705600 w 7831667"/>
              <a:gd name="connsiteY118" fmla="*/ 431800 h 1540934"/>
              <a:gd name="connsiteX119" fmla="*/ 6756400 w 7831667"/>
              <a:gd name="connsiteY119" fmla="*/ 457200 h 1540934"/>
              <a:gd name="connsiteX120" fmla="*/ 6773334 w 7831667"/>
              <a:gd name="connsiteY120" fmla="*/ 474134 h 1540934"/>
              <a:gd name="connsiteX121" fmla="*/ 6832600 w 7831667"/>
              <a:gd name="connsiteY121" fmla="*/ 516467 h 1540934"/>
              <a:gd name="connsiteX122" fmla="*/ 6874934 w 7831667"/>
              <a:gd name="connsiteY122" fmla="*/ 524934 h 1540934"/>
              <a:gd name="connsiteX123" fmla="*/ 6917267 w 7831667"/>
              <a:gd name="connsiteY123" fmla="*/ 541867 h 1540934"/>
              <a:gd name="connsiteX124" fmla="*/ 7103534 w 7831667"/>
              <a:gd name="connsiteY124" fmla="*/ 524934 h 1540934"/>
              <a:gd name="connsiteX125" fmla="*/ 7239000 w 7831667"/>
              <a:gd name="connsiteY125" fmla="*/ 482600 h 1540934"/>
              <a:gd name="connsiteX126" fmla="*/ 7433734 w 7831667"/>
              <a:gd name="connsiteY126" fmla="*/ 448734 h 1540934"/>
              <a:gd name="connsiteX127" fmla="*/ 7476067 w 7831667"/>
              <a:gd name="connsiteY127" fmla="*/ 474134 h 1540934"/>
              <a:gd name="connsiteX128" fmla="*/ 7526867 w 7831667"/>
              <a:gd name="connsiteY128" fmla="*/ 558800 h 1540934"/>
              <a:gd name="connsiteX129" fmla="*/ 7577667 w 7831667"/>
              <a:gd name="connsiteY129" fmla="*/ 702734 h 1540934"/>
              <a:gd name="connsiteX130" fmla="*/ 7586134 w 7831667"/>
              <a:gd name="connsiteY130" fmla="*/ 745067 h 1540934"/>
              <a:gd name="connsiteX131" fmla="*/ 7628467 w 7831667"/>
              <a:gd name="connsiteY131" fmla="*/ 778934 h 1540934"/>
              <a:gd name="connsiteX132" fmla="*/ 7662334 w 7831667"/>
              <a:gd name="connsiteY132" fmla="*/ 795867 h 1540934"/>
              <a:gd name="connsiteX133" fmla="*/ 7696200 w 7831667"/>
              <a:gd name="connsiteY133" fmla="*/ 821267 h 1540934"/>
              <a:gd name="connsiteX134" fmla="*/ 7730067 w 7831667"/>
              <a:gd name="connsiteY134" fmla="*/ 829734 h 1540934"/>
              <a:gd name="connsiteX135" fmla="*/ 7763934 w 7831667"/>
              <a:gd name="connsiteY135" fmla="*/ 846667 h 1540934"/>
              <a:gd name="connsiteX136" fmla="*/ 7814734 w 7831667"/>
              <a:gd name="connsiteY136" fmla="*/ 897467 h 1540934"/>
              <a:gd name="connsiteX137" fmla="*/ 7831667 w 7831667"/>
              <a:gd name="connsiteY137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15734 w 7831667"/>
              <a:gd name="connsiteY67" fmla="*/ 1058334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989891 w 7831667"/>
              <a:gd name="connsiteY89" fmla="*/ 872067 h 1540934"/>
              <a:gd name="connsiteX90" fmla="*/ 5046134 w 7831667"/>
              <a:gd name="connsiteY90" fmla="*/ 880534 h 1540934"/>
              <a:gd name="connsiteX91" fmla="*/ 5096934 w 7831667"/>
              <a:gd name="connsiteY91" fmla="*/ 812800 h 1540934"/>
              <a:gd name="connsiteX92" fmla="*/ 5122334 w 7831667"/>
              <a:gd name="connsiteY92" fmla="*/ 770467 h 1540934"/>
              <a:gd name="connsiteX93" fmla="*/ 5173134 w 7831667"/>
              <a:gd name="connsiteY93" fmla="*/ 719667 h 1540934"/>
              <a:gd name="connsiteX94" fmla="*/ 5207000 w 7831667"/>
              <a:gd name="connsiteY94" fmla="*/ 660400 h 1540934"/>
              <a:gd name="connsiteX95" fmla="*/ 5266267 w 7831667"/>
              <a:gd name="connsiteY95" fmla="*/ 558800 h 1540934"/>
              <a:gd name="connsiteX96" fmla="*/ 5520267 w 7831667"/>
              <a:gd name="connsiteY96" fmla="*/ 211667 h 1540934"/>
              <a:gd name="connsiteX97" fmla="*/ 5621867 w 7831667"/>
              <a:gd name="connsiteY97" fmla="*/ 135467 h 1540934"/>
              <a:gd name="connsiteX98" fmla="*/ 5655734 w 7831667"/>
              <a:gd name="connsiteY98" fmla="*/ 110067 h 1540934"/>
              <a:gd name="connsiteX99" fmla="*/ 5681134 w 7831667"/>
              <a:gd name="connsiteY99" fmla="*/ 84667 h 1540934"/>
              <a:gd name="connsiteX100" fmla="*/ 5731934 w 7831667"/>
              <a:gd name="connsiteY100" fmla="*/ 50800 h 1540934"/>
              <a:gd name="connsiteX101" fmla="*/ 5791200 w 7831667"/>
              <a:gd name="connsiteY101" fmla="*/ 16934 h 1540934"/>
              <a:gd name="connsiteX102" fmla="*/ 5833534 w 7831667"/>
              <a:gd name="connsiteY102" fmla="*/ 0 h 1540934"/>
              <a:gd name="connsiteX103" fmla="*/ 5952067 w 7831667"/>
              <a:gd name="connsiteY103" fmla="*/ 8467 h 1540934"/>
              <a:gd name="connsiteX104" fmla="*/ 6002867 w 7831667"/>
              <a:gd name="connsiteY104" fmla="*/ 16934 h 1540934"/>
              <a:gd name="connsiteX105" fmla="*/ 6062134 w 7831667"/>
              <a:gd name="connsiteY105" fmla="*/ 59267 h 1540934"/>
              <a:gd name="connsiteX106" fmla="*/ 6087534 w 7831667"/>
              <a:gd name="connsiteY106" fmla="*/ 93134 h 1540934"/>
              <a:gd name="connsiteX107" fmla="*/ 6163734 w 7831667"/>
              <a:gd name="connsiteY107" fmla="*/ 127000 h 1540934"/>
              <a:gd name="connsiteX108" fmla="*/ 6239934 w 7831667"/>
              <a:gd name="connsiteY108" fmla="*/ 152400 h 1540934"/>
              <a:gd name="connsiteX109" fmla="*/ 6307667 w 7831667"/>
              <a:gd name="connsiteY109" fmla="*/ 186267 h 1540934"/>
              <a:gd name="connsiteX110" fmla="*/ 6341534 w 7831667"/>
              <a:gd name="connsiteY110" fmla="*/ 194734 h 1540934"/>
              <a:gd name="connsiteX111" fmla="*/ 6366934 w 7831667"/>
              <a:gd name="connsiteY111" fmla="*/ 211667 h 1540934"/>
              <a:gd name="connsiteX112" fmla="*/ 6426200 w 7831667"/>
              <a:gd name="connsiteY112" fmla="*/ 237067 h 1540934"/>
              <a:gd name="connsiteX113" fmla="*/ 6460067 w 7831667"/>
              <a:gd name="connsiteY113" fmla="*/ 262467 h 1540934"/>
              <a:gd name="connsiteX114" fmla="*/ 6502400 w 7831667"/>
              <a:gd name="connsiteY114" fmla="*/ 287867 h 1540934"/>
              <a:gd name="connsiteX115" fmla="*/ 6544734 w 7831667"/>
              <a:gd name="connsiteY115" fmla="*/ 330200 h 1540934"/>
              <a:gd name="connsiteX116" fmla="*/ 6620934 w 7831667"/>
              <a:gd name="connsiteY116" fmla="*/ 364067 h 1540934"/>
              <a:gd name="connsiteX117" fmla="*/ 6705600 w 7831667"/>
              <a:gd name="connsiteY117" fmla="*/ 431800 h 1540934"/>
              <a:gd name="connsiteX118" fmla="*/ 6756400 w 7831667"/>
              <a:gd name="connsiteY118" fmla="*/ 457200 h 1540934"/>
              <a:gd name="connsiteX119" fmla="*/ 6773334 w 7831667"/>
              <a:gd name="connsiteY119" fmla="*/ 474134 h 1540934"/>
              <a:gd name="connsiteX120" fmla="*/ 6832600 w 7831667"/>
              <a:gd name="connsiteY120" fmla="*/ 516467 h 1540934"/>
              <a:gd name="connsiteX121" fmla="*/ 6874934 w 7831667"/>
              <a:gd name="connsiteY121" fmla="*/ 524934 h 1540934"/>
              <a:gd name="connsiteX122" fmla="*/ 6917267 w 7831667"/>
              <a:gd name="connsiteY122" fmla="*/ 541867 h 1540934"/>
              <a:gd name="connsiteX123" fmla="*/ 7103534 w 7831667"/>
              <a:gd name="connsiteY123" fmla="*/ 524934 h 1540934"/>
              <a:gd name="connsiteX124" fmla="*/ 7239000 w 7831667"/>
              <a:gd name="connsiteY124" fmla="*/ 482600 h 1540934"/>
              <a:gd name="connsiteX125" fmla="*/ 7433734 w 7831667"/>
              <a:gd name="connsiteY125" fmla="*/ 448734 h 1540934"/>
              <a:gd name="connsiteX126" fmla="*/ 7476067 w 7831667"/>
              <a:gd name="connsiteY126" fmla="*/ 474134 h 1540934"/>
              <a:gd name="connsiteX127" fmla="*/ 7526867 w 7831667"/>
              <a:gd name="connsiteY127" fmla="*/ 558800 h 1540934"/>
              <a:gd name="connsiteX128" fmla="*/ 7577667 w 7831667"/>
              <a:gd name="connsiteY128" fmla="*/ 702734 h 1540934"/>
              <a:gd name="connsiteX129" fmla="*/ 7586134 w 7831667"/>
              <a:gd name="connsiteY129" fmla="*/ 745067 h 1540934"/>
              <a:gd name="connsiteX130" fmla="*/ 7628467 w 7831667"/>
              <a:gd name="connsiteY130" fmla="*/ 778934 h 1540934"/>
              <a:gd name="connsiteX131" fmla="*/ 7662334 w 7831667"/>
              <a:gd name="connsiteY131" fmla="*/ 795867 h 1540934"/>
              <a:gd name="connsiteX132" fmla="*/ 7696200 w 7831667"/>
              <a:gd name="connsiteY132" fmla="*/ 821267 h 1540934"/>
              <a:gd name="connsiteX133" fmla="*/ 7730067 w 7831667"/>
              <a:gd name="connsiteY133" fmla="*/ 829734 h 1540934"/>
              <a:gd name="connsiteX134" fmla="*/ 7763934 w 7831667"/>
              <a:gd name="connsiteY134" fmla="*/ 846667 h 1540934"/>
              <a:gd name="connsiteX135" fmla="*/ 7814734 w 7831667"/>
              <a:gd name="connsiteY135" fmla="*/ 897467 h 1540934"/>
              <a:gd name="connsiteX136" fmla="*/ 7831667 w 7831667"/>
              <a:gd name="connsiteY136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191934 w 7831667"/>
              <a:gd name="connsiteY69" fmla="*/ 1092200 h 1540934"/>
              <a:gd name="connsiteX70" fmla="*/ 3293534 w 7831667"/>
              <a:gd name="connsiteY70" fmla="*/ 1126067 h 1540934"/>
              <a:gd name="connsiteX71" fmla="*/ 3335867 w 7831667"/>
              <a:gd name="connsiteY71" fmla="*/ 1143000 h 1540934"/>
              <a:gd name="connsiteX72" fmla="*/ 3437467 w 7831667"/>
              <a:gd name="connsiteY72" fmla="*/ 1151467 h 1540934"/>
              <a:gd name="connsiteX73" fmla="*/ 3505200 w 7831667"/>
              <a:gd name="connsiteY73" fmla="*/ 1159934 h 1540934"/>
              <a:gd name="connsiteX74" fmla="*/ 3547534 w 7831667"/>
              <a:gd name="connsiteY74" fmla="*/ 1168400 h 1540934"/>
              <a:gd name="connsiteX75" fmla="*/ 3598334 w 7831667"/>
              <a:gd name="connsiteY75" fmla="*/ 1176867 h 1540934"/>
              <a:gd name="connsiteX76" fmla="*/ 3640667 w 7831667"/>
              <a:gd name="connsiteY76" fmla="*/ 1202267 h 1540934"/>
              <a:gd name="connsiteX77" fmla="*/ 3666067 w 7831667"/>
              <a:gd name="connsiteY77" fmla="*/ 1210734 h 1540934"/>
              <a:gd name="connsiteX78" fmla="*/ 3750734 w 7831667"/>
              <a:gd name="connsiteY78" fmla="*/ 1227667 h 1540934"/>
              <a:gd name="connsiteX79" fmla="*/ 3801534 w 7831667"/>
              <a:gd name="connsiteY79" fmla="*/ 1244600 h 1540934"/>
              <a:gd name="connsiteX80" fmla="*/ 4038600 w 7831667"/>
              <a:gd name="connsiteY80" fmla="*/ 1261534 h 1540934"/>
              <a:gd name="connsiteX81" fmla="*/ 4080934 w 7831667"/>
              <a:gd name="connsiteY81" fmla="*/ 1270000 h 1540934"/>
              <a:gd name="connsiteX82" fmla="*/ 4114800 w 7831667"/>
              <a:gd name="connsiteY82" fmla="*/ 1278467 h 1540934"/>
              <a:gd name="connsiteX83" fmla="*/ 4334934 w 7831667"/>
              <a:gd name="connsiteY83" fmla="*/ 1270000 h 1540934"/>
              <a:gd name="connsiteX84" fmla="*/ 4385734 w 7831667"/>
              <a:gd name="connsiteY84" fmla="*/ 1261534 h 1540934"/>
              <a:gd name="connsiteX85" fmla="*/ 4453467 w 7831667"/>
              <a:gd name="connsiteY85" fmla="*/ 1253067 h 1540934"/>
              <a:gd name="connsiteX86" fmla="*/ 4478867 w 7831667"/>
              <a:gd name="connsiteY86" fmla="*/ 1236134 h 1540934"/>
              <a:gd name="connsiteX87" fmla="*/ 4499429 w 7831667"/>
              <a:gd name="connsiteY87" fmla="*/ 1167796 h 1540934"/>
              <a:gd name="connsiteX88" fmla="*/ 4724400 w 7831667"/>
              <a:gd name="connsiteY88" fmla="*/ 1071639 h 1540934"/>
              <a:gd name="connsiteX89" fmla="*/ 4989891 w 7831667"/>
              <a:gd name="connsiteY89" fmla="*/ 872067 h 1540934"/>
              <a:gd name="connsiteX90" fmla="*/ 5046134 w 7831667"/>
              <a:gd name="connsiteY90" fmla="*/ 880534 h 1540934"/>
              <a:gd name="connsiteX91" fmla="*/ 5096934 w 7831667"/>
              <a:gd name="connsiteY91" fmla="*/ 812800 h 1540934"/>
              <a:gd name="connsiteX92" fmla="*/ 5122334 w 7831667"/>
              <a:gd name="connsiteY92" fmla="*/ 770467 h 1540934"/>
              <a:gd name="connsiteX93" fmla="*/ 5173134 w 7831667"/>
              <a:gd name="connsiteY93" fmla="*/ 719667 h 1540934"/>
              <a:gd name="connsiteX94" fmla="*/ 5207000 w 7831667"/>
              <a:gd name="connsiteY94" fmla="*/ 660400 h 1540934"/>
              <a:gd name="connsiteX95" fmla="*/ 5266267 w 7831667"/>
              <a:gd name="connsiteY95" fmla="*/ 558800 h 1540934"/>
              <a:gd name="connsiteX96" fmla="*/ 5520267 w 7831667"/>
              <a:gd name="connsiteY96" fmla="*/ 211667 h 1540934"/>
              <a:gd name="connsiteX97" fmla="*/ 5621867 w 7831667"/>
              <a:gd name="connsiteY97" fmla="*/ 135467 h 1540934"/>
              <a:gd name="connsiteX98" fmla="*/ 5655734 w 7831667"/>
              <a:gd name="connsiteY98" fmla="*/ 110067 h 1540934"/>
              <a:gd name="connsiteX99" fmla="*/ 5681134 w 7831667"/>
              <a:gd name="connsiteY99" fmla="*/ 84667 h 1540934"/>
              <a:gd name="connsiteX100" fmla="*/ 5731934 w 7831667"/>
              <a:gd name="connsiteY100" fmla="*/ 50800 h 1540934"/>
              <a:gd name="connsiteX101" fmla="*/ 5791200 w 7831667"/>
              <a:gd name="connsiteY101" fmla="*/ 16934 h 1540934"/>
              <a:gd name="connsiteX102" fmla="*/ 5833534 w 7831667"/>
              <a:gd name="connsiteY102" fmla="*/ 0 h 1540934"/>
              <a:gd name="connsiteX103" fmla="*/ 5952067 w 7831667"/>
              <a:gd name="connsiteY103" fmla="*/ 8467 h 1540934"/>
              <a:gd name="connsiteX104" fmla="*/ 6002867 w 7831667"/>
              <a:gd name="connsiteY104" fmla="*/ 16934 h 1540934"/>
              <a:gd name="connsiteX105" fmla="*/ 6062134 w 7831667"/>
              <a:gd name="connsiteY105" fmla="*/ 59267 h 1540934"/>
              <a:gd name="connsiteX106" fmla="*/ 6087534 w 7831667"/>
              <a:gd name="connsiteY106" fmla="*/ 93134 h 1540934"/>
              <a:gd name="connsiteX107" fmla="*/ 6163734 w 7831667"/>
              <a:gd name="connsiteY107" fmla="*/ 127000 h 1540934"/>
              <a:gd name="connsiteX108" fmla="*/ 6239934 w 7831667"/>
              <a:gd name="connsiteY108" fmla="*/ 152400 h 1540934"/>
              <a:gd name="connsiteX109" fmla="*/ 6307667 w 7831667"/>
              <a:gd name="connsiteY109" fmla="*/ 186267 h 1540934"/>
              <a:gd name="connsiteX110" fmla="*/ 6341534 w 7831667"/>
              <a:gd name="connsiteY110" fmla="*/ 194734 h 1540934"/>
              <a:gd name="connsiteX111" fmla="*/ 6366934 w 7831667"/>
              <a:gd name="connsiteY111" fmla="*/ 211667 h 1540934"/>
              <a:gd name="connsiteX112" fmla="*/ 6426200 w 7831667"/>
              <a:gd name="connsiteY112" fmla="*/ 237067 h 1540934"/>
              <a:gd name="connsiteX113" fmla="*/ 6460067 w 7831667"/>
              <a:gd name="connsiteY113" fmla="*/ 262467 h 1540934"/>
              <a:gd name="connsiteX114" fmla="*/ 6502400 w 7831667"/>
              <a:gd name="connsiteY114" fmla="*/ 287867 h 1540934"/>
              <a:gd name="connsiteX115" fmla="*/ 6544734 w 7831667"/>
              <a:gd name="connsiteY115" fmla="*/ 330200 h 1540934"/>
              <a:gd name="connsiteX116" fmla="*/ 6620934 w 7831667"/>
              <a:gd name="connsiteY116" fmla="*/ 364067 h 1540934"/>
              <a:gd name="connsiteX117" fmla="*/ 6705600 w 7831667"/>
              <a:gd name="connsiteY117" fmla="*/ 431800 h 1540934"/>
              <a:gd name="connsiteX118" fmla="*/ 6756400 w 7831667"/>
              <a:gd name="connsiteY118" fmla="*/ 457200 h 1540934"/>
              <a:gd name="connsiteX119" fmla="*/ 6773334 w 7831667"/>
              <a:gd name="connsiteY119" fmla="*/ 474134 h 1540934"/>
              <a:gd name="connsiteX120" fmla="*/ 6832600 w 7831667"/>
              <a:gd name="connsiteY120" fmla="*/ 516467 h 1540934"/>
              <a:gd name="connsiteX121" fmla="*/ 6874934 w 7831667"/>
              <a:gd name="connsiteY121" fmla="*/ 524934 h 1540934"/>
              <a:gd name="connsiteX122" fmla="*/ 6917267 w 7831667"/>
              <a:gd name="connsiteY122" fmla="*/ 541867 h 1540934"/>
              <a:gd name="connsiteX123" fmla="*/ 7103534 w 7831667"/>
              <a:gd name="connsiteY123" fmla="*/ 524934 h 1540934"/>
              <a:gd name="connsiteX124" fmla="*/ 7239000 w 7831667"/>
              <a:gd name="connsiteY124" fmla="*/ 482600 h 1540934"/>
              <a:gd name="connsiteX125" fmla="*/ 7433734 w 7831667"/>
              <a:gd name="connsiteY125" fmla="*/ 448734 h 1540934"/>
              <a:gd name="connsiteX126" fmla="*/ 7476067 w 7831667"/>
              <a:gd name="connsiteY126" fmla="*/ 474134 h 1540934"/>
              <a:gd name="connsiteX127" fmla="*/ 7526867 w 7831667"/>
              <a:gd name="connsiteY127" fmla="*/ 558800 h 1540934"/>
              <a:gd name="connsiteX128" fmla="*/ 7577667 w 7831667"/>
              <a:gd name="connsiteY128" fmla="*/ 702734 h 1540934"/>
              <a:gd name="connsiteX129" fmla="*/ 7586134 w 7831667"/>
              <a:gd name="connsiteY129" fmla="*/ 745067 h 1540934"/>
              <a:gd name="connsiteX130" fmla="*/ 7628467 w 7831667"/>
              <a:gd name="connsiteY130" fmla="*/ 778934 h 1540934"/>
              <a:gd name="connsiteX131" fmla="*/ 7662334 w 7831667"/>
              <a:gd name="connsiteY131" fmla="*/ 795867 h 1540934"/>
              <a:gd name="connsiteX132" fmla="*/ 7696200 w 7831667"/>
              <a:gd name="connsiteY132" fmla="*/ 821267 h 1540934"/>
              <a:gd name="connsiteX133" fmla="*/ 7730067 w 7831667"/>
              <a:gd name="connsiteY133" fmla="*/ 829734 h 1540934"/>
              <a:gd name="connsiteX134" fmla="*/ 7763934 w 7831667"/>
              <a:gd name="connsiteY134" fmla="*/ 846667 h 1540934"/>
              <a:gd name="connsiteX135" fmla="*/ 7814734 w 7831667"/>
              <a:gd name="connsiteY135" fmla="*/ 897467 h 1540934"/>
              <a:gd name="connsiteX136" fmla="*/ 7831667 w 7831667"/>
              <a:gd name="connsiteY136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460067 w 7831667"/>
              <a:gd name="connsiteY112" fmla="*/ 262467 h 1540934"/>
              <a:gd name="connsiteX113" fmla="*/ 6502400 w 7831667"/>
              <a:gd name="connsiteY113" fmla="*/ 287867 h 1540934"/>
              <a:gd name="connsiteX114" fmla="*/ 6544734 w 7831667"/>
              <a:gd name="connsiteY114" fmla="*/ 330200 h 1540934"/>
              <a:gd name="connsiteX115" fmla="*/ 6620934 w 7831667"/>
              <a:gd name="connsiteY115" fmla="*/ 364067 h 1540934"/>
              <a:gd name="connsiteX116" fmla="*/ 6705600 w 7831667"/>
              <a:gd name="connsiteY116" fmla="*/ 431800 h 1540934"/>
              <a:gd name="connsiteX117" fmla="*/ 6756400 w 7831667"/>
              <a:gd name="connsiteY117" fmla="*/ 457200 h 1540934"/>
              <a:gd name="connsiteX118" fmla="*/ 6773334 w 7831667"/>
              <a:gd name="connsiteY118" fmla="*/ 474134 h 1540934"/>
              <a:gd name="connsiteX119" fmla="*/ 6832600 w 7831667"/>
              <a:gd name="connsiteY119" fmla="*/ 516467 h 1540934"/>
              <a:gd name="connsiteX120" fmla="*/ 6874934 w 7831667"/>
              <a:gd name="connsiteY120" fmla="*/ 524934 h 1540934"/>
              <a:gd name="connsiteX121" fmla="*/ 6917267 w 7831667"/>
              <a:gd name="connsiteY121" fmla="*/ 541867 h 1540934"/>
              <a:gd name="connsiteX122" fmla="*/ 7103534 w 7831667"/>
              <a:gd name="connsiteY122" fmla="*/ 524934 h 1540934"/>
              <a:gd name="connsiteX123" fmla="*/ 7239000 w 7831667"/>
              <a:gd name="connsiteY123" fmla="*/ 482600 h 1540934"/>
              <a:gd name="connsiteX124" fmla="*/ 7433734 w 7831667"/>
              <a:gd name="connsiteY124" fmla="*/ 448734 h 1540934"/>
              <a:gd name="connsiteX125" fmla="*/ 7476067 w 7831667"/>
              <a:gd name="connsiteY125" fmla="*/ 474134 h 1540934"/>
              <a:gd name="connsiteX126" fmla="*/ 7526867 w 7831667"/>
              <a:gd name="connsiteY126" fmla="*/ 558800 h 1540934"/>
              <a:gd name="connsiteX127" fmla="*/ 7577667 w 7831667"/>
              <a:gd name="connsiteY127" fmla="*/ 702734 h 1540934"/>
              <a:gd name="connsiteX128" fmla="*/ 7586134 w 7831667"/>
              <a:gd name="connsiteY128" fmla="*/ 745067 h 1540934"/>
              <a:gd name="connsiteX129" fmla="*/ 7628467 w 7831667"/>
              <a:gd name="connsiteY129" fmla="*/ 778934 h 1540934"/>
              <a:gd name="connsiteX130" fmla="*/ 7662334 w 7831667"/>
              <a:gd name="connsiteY130" fmla="*/ 795867 h 1540934"/>
              <a:gd name="connsiteX131" fmla="*/ 7696200 w 7831667"/>
              <a:gd name="connsiteY131" fmla="*/ 821267 h 1540934"/>
              <a:gd name="connsiteX132" fmla="*/ 7730067 w 7831667"/>
              <a:gd name="connsiteY132" fmla="*/ 829734 h 1540934"/>
              <a:gd name="connsiteX133" fmla="*/ 7763934 w 7831667"/>
              <a:gd name="connsiteY133" fmla="*/ 846667 h 1540934"/>
              <a:gd name="connsiteX134" fmla="*/ 7814734 w 7831667"/>
              <a:gd name="connsiteY134" fmla="*/ 897467 h 1540934"/>
              <a:gd name="connsiteX135" fmla="*/ 7831667 w 7831667"/>
              <a:gd name="connsiteY135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460067 w 7831667"/>
              <a:gd name="connsiteY112" fmla="*/ 262467 h 1540934"/>
              <a:gd name="connsiteX113" fmla="*/ 6502400 w 7831667"/>
              <a:gd name="connsiteY113" fmla="*/ 287867 h 1540934"/>
              <a:gd name="connsiteX114" fmla="*/ 6544734 w 7831667"/>
              <a:gd name="connsiteY114" fmla="*/ 477157 h 1540934"/>
              <a:gd name="connsiteX115" fmla="*/ 6620934 w 7831667"/>
              <a:gd name="connsiteY115" fmla="*/ 364067 h 1540934"/>
              <a:gd name="connsiteX116" fmla="*/ 6705600 w 7831667"/>
              <a:gd name="connsiteY116" fmla="*/ 431800 h 1540934"/>
              <a:gd name="connsiteX117" fmla="*/ 6756400 w 7831667"/>
              <a:gd name="connsiteY117" fmla="*/ 457200 h 1540934"/>
              <a:gd name="connsiteX118" fmla="*/ 6773334 w 7831667"/>
              <a:gd name="connsiteY118" fmla="*/ 474134 h 1540934"/>
              <a:gd name="connsiteX119" fmla="*/ 6832600 w 7831667"/>
              <a:gd name="connsiteY119" fmla="*/ 516467 h 1540934"/>
              <a:gd name="connsiteX120" fmla="*/ 6874934 w 7831667"/>
              <a:gd name="connsiteY120" fmla="*/ 524934 h 1540934"/>
              <a:gd name="connsiteX121" fmla="*/ 6917267 w 7831667"/>
              <a:gd name="connsiteY121" fmla="*/ 541867 h 1540934"/>
              <a:gd name="connsiteX122" fmla="*/ 7103534 w 7831667"/>
              <a:gd name="connsiteY122" fmla="*/ 524934 h 1540934"/>
              <a:gd name="connsiteX123" fmla="*/ 7239000 w 7831667"/>
              <a:gd name="connsiteY123" fmla="*/ 482600 h 1540934"/>
              <a:gd name="connsiteX124" fmla="*/ 7433734 w 7831667"/>
              <a:gd name="connsiteY124" fmla="*/ 448734 h 1540934"/>
              <a:gd name="connsiteX125" fmla="*/ 7476067 w 7831667"/>
              <a:gd name="connsiteY125" fmla="*/ 474134 h 1540934"/>
              <a:gd name="connsiteX126" fmla="*/ 7526867 w 7831667"/>
              <a:gd name="connsiteY126" fmla="*/ 558800 h 1540934"/>
              <a:gd name="connsiteX127" fmla="*/ 7577667 w 7831667"/>
              <a:gd name="connsiteY127" fmla="*/ 702734 h 1540934"/>
              <a:gd name="connsiteX128" fmla="*/ 7586134 w 7831667"/>
              <a:gd name="connsiteY128" fmla="*/ 745067 h 1540934"/>
              <a:gd name="connsiteX129" fmla="*/ 7628467 w 7831667"/>
              <a:gd name="connsiteY129" fmla="*/ 778934 h 1540934"/>
              <a:gd name="connsiteX130" fmla="*/ 7662334 w 7831667"/>
              <a:gd name="connsiteY130" fmla="*/ 795867 h 1540934"/>
              <a:gd name="connsiteX131" fmla="*/ 7696200 w 7831667"/>
              <a:gd name="connsiteY131" fmla="*/ 821267 h 1540934"/>
              <a:gd name="connsiteX132" fmla="*/ 7730067 w 7831667"/>
              <a:gd name="connsiteY132" fmla="*/ 829734 h 1540934"/>
              <a:gd name="connsiteX133" fmla="*/ 7763934 w 7831667"/>
              <a:gd name="connsiteY133" fmla="*/ 846667 h 1540934"/>
              <a:gd name="connsiteX134" fmla="*/ 7814734 w 7831667"/>
              <a:gd name="connsiteY134" fmla="*/ 897467 h 1540934"/>
              <a:gd name="connsiteX135" fmla="*/ 7831667 w 7831667"/>
              <a:gd name="connsiteY135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460067 w 7831667"/>
              <a:gd name="connsiteY112" fmla="*/ 262467 h 1540934"/>
              <a:gd name="connsiteX113" fmla="*/ 6544734 w 7831667"/>
              <a:gd name="connsiteY113" fmla="*/ 477157 h 1540934"/>
              <a:gd name="connsiteX114" fmla="*/ 6620934 w 7831667"/>
              <a:gd name="connsiteY114" fmla="*/ 364067 h 1540934"/>
              <a:gd name="connsiteX115" fmla="*/ 6705600 w 7831667"/>
              <a:gd name="connsiteY115" fmla="*/ 431800 h 1540934"/>
              <a:gd name="connsiteX116" fmla="*/ 6756400 w 7831667"/>
              <a:gd name="connsiteY116" fmla="*/ 457200 h 1540934"/>
              <a:gd name="connsiteX117" fmla="*/ 6773334 w 7831667"/>
              <a:gd name="connsiteY117" fmla="*/ 474134 h 1540934"/>
              <a:gd name="connsiteX118" fmla="*/ 6832600 w 7831667"/>
              <a:gd name="connsiteY118" fmla="*/ 516467 h 1540934"/>
              <a:gd name="connsiteX119" fmla="*/ 6874934 w 7831667"/>
              <a:gd name="connsiteY119" fmla="*/ 524934 h 1540934"/>
              <a:gd name="connsiteX120" fmla="*/ 6917267 w 7831667"/>
              <a:gd name="connsiteY120" fmla="*/ 541867 h 1540934"/>
              <a:gd name="connsiteX121" fmla="*/ 7103534 w 7831667"/>
              <a:gd name="connsiteY121" fmla="*/ 524934 h 1540934"/>
              <a:gd name="connsiteX122" fmla="*/ 7239000 w 7831667"/>
              <a:gd name="connsiteY122" fmla="*/ 482600 h 1540934"/>
              <a:gd name="connsiteX123" fmla="*/ 7433734 w 7831667"/>
              <a:gd name="connsiteY123" fmla="*/ 448734 h 1540934"/>
              <a:gd name="connsiteX124" fmla="*/ 7476067 w 7831667"/>
              <a:gd name="connsiteY124" fmla="*/ 474134 h 1540934"/>
              <a:gd name="connsiteX125" fmla="*/ 7526867 w 7831667"/>
              <a:gd name="connsiteY125" fmla="*/ 558800 h 1540934"/>
              <a:gd name="connsiteX126" fmla="*/ 7577667 w 7831667"/>
              <a:gd name="connsiteY126" fmla="*/ 702734 h 1540934"/>
              <a:gd name="connsiteX127" fmla="*/ 7586134 w 7831667"/>
              <a:gd name="connsiteY127" fmla="*/ 745067 h 1540934"/>
              <a:gd name="connsiteX128" fmla="*/ 7628467 w 7831667"/>
              <a:gd name="connsiteY128" fmla="*/ 778934 h 1540934"/>
              <a:gd name="connsiteX129" fmla="*/ 7662334 w 7831667"/>
              <a:gd name="connsiteY129" fmla="*/ 795867 h 1540934"/>
              <a:gd name="connsiteX130" fmla="*/ 7696200 w 7831667"/>
              <a:gd name="connsiteY130" fmla="*/ 821267 h 1540934"/>
              <a:gd name="connsiteX131" fmla="*/ 7730067 w 7831667"/>
              <a:gd name="connsiteY131" fmla="*/ 829734 h 1540934"/>
              <a:gd name="connsiteX132" fmla="*/ 7763934 w 7831667"/>
              <a:gd name="connsiteY132" fmla="*/ 846667 h 1540934"/>
              <a:gd name="connsiteX133" fmla="*/ 7814734 w 7831667"/>
              <a:gd name="connsiteY133" fmla="*/ 897467 h 1540934"/>
              <a:gd name="connsiteX134" fmla="*/ 7831667 w 7831667"/>
              <a:gd name="connsiteY134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426200 w 7831667"/>
              <a:gd name="connsiteY111" fmla="*/ 237067 h 1540934"/>
              <a:gd name="connsiteX112" fmla="*/ 6544734 w 7831667"/>
              <a:gd name="connsiteY112" fmla="*/ 477157 h 1540934"/>
              <a:gd name="connsiteX113" fmla="*/ 6620934 w 7831667"/>
              <a:gd name="connsiteY113" fmla="*/ 364067 h 1540934"/>
              <a:gd name="connsiteX114" fmla="*/ 6705600 w 7831667"/>
              <a:gd name="connsiteY114" fmla="*/ 431800 h 1540934"/>
              <a:gd name="connsiteX115" fmla="*/ 6756400 w 7831667"/>
              <a:gd name="connsiteY115" fmla="*/ 457200 h 1540934"/>
              <a:gd name="connsiteX116" fmla="*/ 6773334 w 7831667"/>
              <a:gd name="connsiteY116" fmla="*/ 474134 h 1540934"/>
              <a:gd name="connsiteX117" fmla="*/ 6832600 w 7831667"/>
              <a:gd name="connsiteY117" fmla="*/ 516467 h 1540934"/>
              <a:gd name="connsiteX118" fmla="*/ 6874934 w 7831667"/>
              <a:gd name="connsiteY118" fmla="*/ 524934 h 1540934"/>
              <a:gd name="connsiteX119" fmla="*/ 6917267 w 7831667"/>
              <a:gd name="connsiteY119" fmla="*/ 541867 h 1540934"/>
              <a:gd name="connsiteX120" fmla="*/ 7103534 w 7831667"/>
              <a:gd name="connsiteY120" fmla="*/ 524934 h 1540934"/>
              <a:gd name="connsiteX121" fmla="*/ 7239000 w 7831667"/>
              <a:gd name="connsiteY121" fmla="*/ 482600 h 1540934"/>
              <a:gd name="connsiteX122" fmla="*/ 7433734 w 7831667"/>
              <a:gd name="connsiteY122" fmla="*/ 448734 h 1540934"/>
              <a:gd name="connsiteX123" fmla="*/ 7476067 w 7831667"/>
              <a:gd name="connsiteY123" fmla="*/ 474134 h 1540934"/>
              <a:gd name="connsiteX124" fmla="*/ 7526867 w 7831667"/>
              <a:gd name="connsiteY124" fmla="*/ 558800 h 1540934"/>
              <a:gd name="connsiteX125" fmla="*/ 7577667 w 7831667"/>
              <a:gd name="connsiteY125" fmla="*/ 702734 h 1540934"/>
              <a:gd name="connsiteX126" fmla="*/ 7586134 w 7831667"/>
              <a:gd name="connsiteY126" fmla="*/ 745067 h 1540934"/>
              <a:gd name="connsiteX127" fmla="*/ 7628467 w 7831667"/>
              <a:gd name="connsiteY127" fmla="*/ 778934 h 1540934"/>
              <a:gd name="connsiteX128" fmla="*/ 7662334 w 7831667"/>
              <a:gd name="connsiteY128" fmla="*/ 795867 h 1540934"/>
              <a:gd name="connsiteX129" fmla="*/ 7696200 w 7831667"/>
              <a:gd name="connsiteY129" fmla="*/ 821267 h 1540934"/>
              <a:gd name="connsiteX130" fmla="*/ 7730067 w 7831667"/>
              <a:gd name="connsiteY130" fmla="*/ 829734 h 1540934"/>
              <a:gd name="connsiteX131" fmla="*/ 7763934 w 7831667"/>
              <a:gd name="connsiteY131" fmla="*/ 846667 h 1540934"/>
              <a:gd name="connsiteX132" fmla="*/ 7814734 w 7831667"/>
              <a:gd name="connsiteY132" fmla="*/ 897467 h 1540934"/>
              <a:gd name="connsiteX133" fmla="*/ 7831667 w 7831667"/>
              <a:gd name="connsiteY133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366934 w 7831667"/>
              <a:gd name="connsiteY110" fmla="*/ 211667 h 1540934"/>
              <a:gd name="connsiteX111" fmla="*/ 6544734 w 7831667"/>
              <a:gd name="connsiteY111" fmla="*/ 477157 h 1540934"/>
              <a:gd name="connsiteX112" fmla="*/ 6620934 w 7831667"/>
              <a:gd name="connsiteY112" fmla="*/ 364067 h 1540934"/>
              <a:gd name="connsiteX113" fmla="*/ 6705600 w 7831667"/>
              <a:gd name="connsiteY113" fmla="*/ 431800 h 1540934"/>
              <a:gd name="connsiteX114" fmla="*/ 6756400 w 7831667"/>
              <a:gd name="connsiteY114" fmla="*/ 457200 h 1540934"/>
              <a:gd name="connsiteX115" fmla="*/ 6773334 w 7831667"/>
              <a:gd name="connsiteY115" fmla="*/ 474134 h 1540934"/>
              <a:gd name="connsiteX116" fmla="*/ 6832600 w 7831667"/>
              <a:gd name="connsiteY116" fmla="*/ 516467 h 1540934"/>
              <a:gd name="connsiteX117" fmla="*/ 6874934 w 7831667"/>
              <a:gd name="connsiteY117" fmla="*/ 524934 h 1540934"/>
              <a:gd name="connsiteX118" fmla="*/ 6917267 w 7831667"/>
              <a:gd name="connsiteY118" fmla="*/ 541867 h 1540934"/>
              <a:gd name="connsiteX119" fmla="*/ 7103534 w 7831667"/>
              <a:gd name="connsiteY119" fmla="*/ 524934 h 1540934"/>
              <a:gd name="connsiteX120" fmla="*/ 7239000 w 7831667"/>
              <a:gd name="connsiteY120" fmla="*/ 482600 h 1540934"/>
              <a:gd name="connsiteX121" fmla="*/ 7433734 w 7831667"/>
              <a:gd name="connsiteY121" fmla="*/ 448734 h 1540934"/>
              <a:gd name="connsiteX122" fmla="*/ 7476067 w 7831667"/>
              <a:gd name="connsiteY122" fmla="*/ 474134 h 1540934"/>
              <a:gd name="connsiteX123" fmla="*/ 7526867 w 7831667"/>
              <a:gd name="connsiteY123" fmla="*/ 558800 h 1540934"/>
              <a:gd name="connsiteX124" fmla="*/ 7577667 w 7831667"/>
              <a:gd name="connsiteY124" fmla="*/ 702734 h 1540934"/>
              <a:gd name="connsiteX125" fmla="*/ 7586134 w 7831667"/>
              <a:gd name="connsiteY125" fmla="*/ 745067 h 1540934"/>
              <a:gd name="connsiteX126" fmla="*/ 7628467 w 7831667"/>
              <a:gd name="connsiteY126" fmla="*/ 778934 h 1540934"/>
              <a:gd name="connsiteX127" fmla="*/ 7662334 w 7831667"/>
              <a:gd name="connsiteY127" fmla="*/ 795867 h 1540934"/>
              <a:gd name="connsiteX128" fmla="*/ 7696200 w 7831667"/>
              <a:gd name="connsiteY128" fmla="*/ 821267 h 1540934"/>
              <a:gd name="connsiteX129" fmla="*/ 7730067 w 7831667"/>
              <a:gd name="connsiteY129" fmla="*/ 829734 h 1540934"/>
              <a:gd name="connsiteX130" fmla="*/ 7763934 w 7831667"/>
              <a:gd name="connsiteY130" fmla="*/ 846667 h 1540934"/>
              <a:gd name="connsiteX131" fmla="*/ 7814734 w 7831667"/>
              <a:gd name="connsiteY131" fmla="*/ 897467 h 1540934"/>
              <a:gd name="connsiteX132" fmla="*/ 7831667 w 7831667"/>
              <a:gd name="connsiteY132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341534 w 7831667"/>
              <a:gd name="connsiteY109" fmla="*/ 194734 h 1540934"/>
              <a:gd name="connsiteX110" fmla="*/ 6544734 w 7831667"/>
              <a:gd name="connsiteY110" fmla="*/ 477157 h 1540934"/>
              <a:gd name="connsiteX111" fmla="*/ 6620934 w 7831667"/>
              <a:gd name="connsiteY111" fmla="*/ 364067 h 1540934"/>
              <a:gd name="connsiteX112" fmla="*/ 6705600 w 7831667"/>
              <a:gd name="connsiteY112" fmla="*/ 431800 h 1540934"/>
              <a:gd name="connsiteX113" fmla="*/ 6756400 w 7831667"/>
              <a:gd name="connsiteY113" fmla="*/ 457200 h 1540934"/>
              <a:gd name="connsiteX114" fmla="*/ 6773334 w 7831667"/>
              <a:gd name="connsiteY114" fmla="*/ 474134 h 1540934"/>
              <a:gd name="connsiteX115" fmla="*/ 6832600 w 7831667"/>
              <a:gd name="connsiteY115" fmla="*/ 516467 h 1540934"/>
              <a:gd name="connsiteX116" fmla="*/ 6874934 w 7831667"/>
              <a:gd name="connsiteY116" fmla="*/ 524934 h 1540934"/>
              <a:gd name="connsiteX117" fmla="*/ 6917267 w 7831667"/>
              <a:gd name="connsiteY117" fmla="*/ 541867 h 1540934"/>
              <a:gd name="connsiteX118" fmla="*/ 7103534 w 7831667"/>
              <a:gd name="connsiteY118" fmla="*/ 524934 h 1540934"/>
              <a:gd name="connsiteX119" fmla="*/ 7239000 w 7831667"/>
              <a:gd name="connsiteY119" fmla="*/ 482600 h 1540934"/>
              <a:gd name="connsiteX120" fmla="*/ 7433734 w 7831667"/>
              <a:gd name="connsiteY120" fmla="*/ 448734 h 1540934"/>
              <a:gd name="connsiteX121" fmla="*/ 7476067 w 7831667"/>
              <a:gd name="connsiteY121" fmla="*/ 474134 h 1540934"/>
              <a:gd name="connsiteX122" fmla="*/ 7526867 w 7831667"/>
              <a:gd name="connsiteY122" fmla="*/ 558800 h 1540934"/>
              <a:gd name="connsiteX123" fmla="*/ 7577667 w 7831667"/>
              <a:gd name="connsiteY123" fmla="*/ 702734 h 1540934"/>
              <a:gd name="connsiteX124" fmla="*/ 7586134 w 7831667"/>
              <a:gd name="connsiteY124" fmla="*/ 745067 h 1540934"/>
              <a:gd name="connsiteX125" fmla="*/ 7628467 w 7831667"/>
              <a:gd name="connsiteY125" fmla="*/ 778934 h 1540934"/>
              <a:gd name="connsiteX126" fmla="*/ 7662334 w 7831667"/>
              <a:gd name="connsiteY126" fmla="*/ 795867 h 1540934"/>
              <a:gd name="connsiteX127" fmla="*/ 7696200 w 7831667"/>
              <a:gd name="connsiteY127" fmla="*/ 821267 h 1540934"/>
              <a:gd name="connsiteX128" fmla="*/ 7730067 w 7831667"/>
              <a:gd name="connsiteY128" fmla="*/ 829734 h 1540934"/>
              <a:gd name="connsiteX129" fmla="*/ 7763934 w 7831667"/>
              <a:gd name="connsiteY129" fmla="*/ 846667 h 1540934"/>
              <a:gd name="connsiteX130" fmla="*/ 7814734 w 7831667"/>
              <a:gd name="connsiteY130" fmla="*/ 897467 h 1540934"/>
              <a:gd name="connsiteX131" fmla="*/ 7831667 w 7831667"/>
              <a:gd name="connsiteY131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307667 w 7831667"/>
              <a:gd name="connsiteY108" fmla="*/ 186267 h 1540934"/>
              <a:gd name="connsiteX109" fmla="*/ 6544734 w 7831667"/>
              <a:gd name="connsiteY109" fmla="*/ 477157 h 1540934"/>
              <a:gd name="connsiteX110" fmla="*/ 6620934 w 7831667"/>
              <a:gd name="connsiteY110" fmla="*/ 364067 h 1540934"/>
              <a:gd name="connsiteX111" fmla="*/ 6705600 w 7831667"/>
              <a:gd name="connsiteY111" fmla="*/ 431800 h 1540934"/>
              <a:gd name="connsiteX112" fmla="*/ 6756400 w 7831667"/>
              <a:gd name="connsiteY112" fmla="*/ 457200 h 1540934"/>
              <a:gd name="connsiteX113" fmla="*/ 6773334 w 7831667"/>
              <a:gd name="connsiteY113" fmla="*/ 474134 h 1540934"/>
              <a:gd name="connsiteX114" fmla="*/ 6832600 w 7831667"/>
              <a:gd name="connsiteY114" fmla="*/ 516467 h 1540934"/>
              <a:gd name="connsiteX115" fmla="*/ 6874934 w 7831667"/>
              <a:gd name="connsiteY115" fmla="*/ 524934 h 1540934"/>
              <a:gd name="connsiteX116" fmla="*/ 6917267 w 7831667"/>
              <a:gd name="connsiteY116" fmla="*/ 541867 h 1540934"/>
              <a:gd name="connsiteX117" fmla="*/ 7103534 w 7831667"/>
              <a:gd name="connsiteY117" fmla="*/ 524934 h 1540934"/>
              <a:gd name="connsiteX118" fmla="*/ 7239000 w 7831667"/>
              <a:gd name="connsiteY118" fmla="*/ 482600 h 1540934"/>
              <a:gd name="connsiteX119" fmla="*/ 7433734 w 7831667"/>
              <a:gd name="connsiteY119" fmla="*/ 448734 h 1540934"/>
              <a:gd name="connsiteX120" fmla="*/ 7476067 w 7831667"/>
              <a:gd name="connsiteY120" fmla="*/ 474134 h 1540934"/>
              <a:gd name="connsiteX121" fmla="*/ 7526867 w 7831667"/>
              <a:gd name="connsiteY121" fmla="*/ 558800 h 1540934"/>
              <a:gd name="connsiteX122" fmla="*/ 7577667 w 7831667"/>
              <a:gd name="connsiteY122" fmla="*/ 702734 h 1540934"/>
              <a:gd name="connsiteX123" fmla="*/ 7586134 w 7831667"/>
              <a:gd name="connsiteY123" fmla="*/ 745067 h 1540934"/>
              <a:gd name="connsiteX124" fmla="*/ 7628467 w 7831667"/>
              <a:gd name="connsiteY124" fmla="*/ 778934 h 1540934"/>
              <a:gd name="connsiteX125" fmla="*/ 7662334 w 7831667"/>
              <a:gd name="connsiteY125" fmla="*/ 795867 h 1540934"/>
              <a:gd name="connsiteX126" fmla="*/ 7696200 w 7831667"/>
              <a:gd name="connsiteY126" fmla="*/ 821267 h 1540934"/>
              <a:gd name="connsiteX127" fmla="*/ 7730067 w 7831667"/>
              <a:gd name="connsiteY127" fmla="*/ 829734 h 1540934"/>
              <a:gd name="connsiteX128" fmla="*/ 7763934 w 7831667"/>
              <a:gd name="connsiteY128" fmla="*/ 846667 h 1540934"/>
              <a:gd name="connsiteX129" fmla="*/ 7814734 w 7831667"/>
              <a:gd name="connsiteY129" fmla="*/ 897467 h 1540934"/>
              <a:gd name="connsiteX130" fmla="*/ 7831667 w 7831667"/>
              <a:gd name="connsiteY130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239934 w 7831667"/>
              <a:gd name="connsiteY107" fmla="*/ 152400 h 1540934"/>
              <a:gd name="connsiteX108" fmla="*/ 6544734 w 7831667"/>
              <a:gd name="connsiteY108" fmla="*/ 477157 h 1540934"/>
              <a:gd name="connsiteX109" fmla="*/ 6620934 w 7831667"/>
              <a:gd name="connsiteY109" fmla="*/ 364067 h 1540934"/>
              <a:gd name="connsiteX110" fmla="*/ 6705600 w 7831667"/>
              <a:gd name="connsiteY110" fmla="*/ 431800 h 1540934"/>
              <a:gd name="connsiteX111" fmla="*/ 6756400 w 7831667"/>
              <a:gd name="connsiteY111" fmla="*/ 457200 h 1540934"/>
              <a:gd name="connsiteX112" fmla="*/ 6773334 w 7831667"/>
              <a:gd name="connsiteY112" fmla="*/ 474134 h 1540934"/>
              <a:gd name="connsiteX113" fmla="*/ 6832600 w 7831667"/>
              <a:gd name="connsiteY113" fmla="*/ 516467 h 1540934"/>
              <a:gd name="connsiteX114" fmla="*/ 6874934 w 7831667"/>
              <a:gd name="connsiteY114" fmla="*/ 524934 h 1540934"/>
              <a:gd name="connsiteX115" fmla="*/ 6917267 w 7831667"/>
              <a:gd name="connsiteY115" fmla="*/ 541867 h 1540934"/>
              <a:gd name="connsiteX116" fmla="*/ 7103534 w 7831667"/>
              <a:gd name="connsiteY116" fmla="*/ 524934 h 1540934"/>
              <a:gd name="connsiteX117" fmla="*/ 7239000 w 7831667"/>
              <a:gd name="connsiteY117" fmla="*/ 482600 h 1540934"/>
              <a:gd name="connsiteX118" fmla="*/ 7433734 w 7831667"/>
              <a:gd name="connsiteY118" fmla="*/ 448734 h 1540934"/>
              <a:gd name="connsiteX119" fmla="*/ 7476067 w 7831667"/>
              <a:gd name="connsiteY119" fmla="*/ 474134 h 1540934"/>
              <a:gd name="connsiteX120" fmla="*/ 7526867 w 7831667"/>
              <a:gd name="connsiteY120" fmla="*/ 558800 h 1540934"/>
              <a:gd name="connsiteX121" fmla="*/ 7577667 w 7831667"/>
              <a:gd name="connsiteY121" fmla="*/ 702734 h 1540934"/>
              <a:gd name="connsiteX122" fmla="*/ 7586134 w 7831667"/>
              <a:gd name="connsiteY122" fmla="*/ 745067 h 1540934"/>
              <a:gd name="connsiteX123" fmla="*/ 7628467 w 7831667"/>
              <a:gd name="connsiteY123" fmla="*/ 778934 h 1540934"/>
              <a:gd name="connsiteX124" fmla="*/ 7662334 w 7831667"/>
              <a:gd name="connsiteY124" fmla="*/ 795867 h 1540934"/>
              <a:gd name="connsiteX125" fmla="*/ 7696200 w 7831667"/>
              <a:gd name="connsiteY125" fmla="*/ 821267 h 1540934"/>
              <a:gd name="connsiteX126" fmla="*/ 7730067 w 7831667"/>
              <a:gd name="connsiteY126" fmla="*/ 829734 h 1540934"/>
              <a:gd name="connsiteX127" fmla="*/ 7763934 w 7831667"/>
              <a:gd name="connsiteY127" fmla="*/ 846667 h 1540934"/>
              <a:gd name="connsiteX128" fmla="*/ 7814734 w 7831667"/>
              <a:gd name="connsiteY128" fmla="*/ 897467 h 1540934"/>
              <a:gd name="connsiteX129" fmla="*/ 7831667 w 7831667"/>
              <a:gd name="connsiteY129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163734 w 7831667"/>
              <a:gd name="connsiteY106" fmla="*/ 127000 h 1540934"/>
              <a:gd name="connsiteX107" fmla="*/ 6544734 w 7831667"/>
              <a:gd name="connsiteY107" fmla="*/ 477157 h 1540934"/>
              <a:gd name="connsiteX108" fmla="*/ 6620934 w 7831667"/>
              <a:gd name="connsiteY108" fmla="*/ 364067 h 1540934"/>
              <a:gd name="connsiteX109" fmla="*/ 6705600 w 7831667"/>
              <a:gd name="connsiteY109" fmla="*/ 431800 h 1540934"/>
              <a:gd name="connsiteX110" fmla="*/ 6756400 w 7831667"/>
              <a:gd name="connsiteY110" fmla="*/ 457200 h 1540934"/>
              <a:gd name="connsiteX111" fmla="*/ 6773334 w 7831667"/>
              <a:gd name="connsiteY111" fmla="*/ 474134 h 1540934"/>
              <a:gd name="connsiteX112" fmla="*/ 6832600 w 7831667"/>
              <a:gd name="connsiteY112" fmla="*/ 516467 h 1540934"/>
              <a:gd name="connsiteX113" fmla="*/ 6874934 w 7831667"/>
              <a:gd name="connsiteY113" fmla="*/ 524934 h 1540934"/>
              <a:gd name="connsiteX114" fmla="*/ 6917267 w 7831667"/>
              <a:gd name="connsiteY114" fmla="*/ 541867 h 1540934"/>
              <a:gd name="connsiteX115" fmla="*/ 7103534 w 7831667"/>
              <a:gd name="connsiteY115" fmla="*/ 524934 h 1540934"/>
              <a:gd name="connsiteX116" fmla="*/ 7239000 w 7831667"/>
              <a:gd name="connsiteY116" fmla="*/ 482600 h 1540934"/>
              <a:gd name="connsiteX117" fmla="*/ 7433734 w 7831667"/>
              <a:gd name="connsiteY117" fmla="*/ 448734 h 1540934"/>
              <a:gd name="connsiteX118" fmla="*/ 7476067 w 7831667"/>
              <a:gd name="connsiteY118" fmla="*/ 474134 h 1540934"/>
              <a:gd name="connsiteX119" fmla="*/ 7526867 w 7831667"/>
              <a:gd name="connsiteY119" fmla="*/ 558800 h 1540934"/>
              <a:gd name="connsiteX120" fmla="*/ 7577667 w 7831667"/>
              <a:gd name="connsiteY120" fmla="*/ 702734 h 1540934"/>
              <a:gd name="connsiteX121" fmla="*/ 7586134 w 7831667"/>
              <a:gd name="connsiteY121" fmla="*/ 745067 h 1540934"/>
              <a:gd name="connsiteX122" fmla="*/ 7628467 w 7831667"/>
              <a:gd name="connsiteY122" fmla="*/ 778934 h 1540934"/>
              <a:gd name="connsiteX123" fmla="*/ 7662334 w 7831667"/>
              <a:gd name="connsiteY123" fmla="*/ 795867 h 1540934"/>
              <a:gd name="connsiteX124" fmla="*/ 7696200 w 7831667"/>
              <a:gd name="connsiteY124" fmla="*/ 821267 h 1540934"/>
              <a:gd name="connsiteX125" fmla="*/ 7730067 w 7831667"/>
              <a:gd name="connsiteY125" fmla="*/ 829734 h 1540934"/>
              <a:gd name="connsiteX126" fmla="*/ 7763934 w 7831667"/>
              <a:gd name="connsiteY126" fmla="*/ 846667 h 1540934"/>
              <a:gd name="connsiteX127" fmla="*/ 7814734 w 7831667"/>
              <a:gd name="connsiteY127" fmla="*/ 897467 h 1540934"/>
              <a:gd name="connsiteX128" fmla="*/ 7831667 w 7831667"/>
              <a:gd name="connsiteY128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7534 w 7831667"/>
              <a:gd name="connsiteY105" fmla="*/ 93134 h 1540934"/>
              <a:gd name="connsiteX106" fmla="*/ 6544734 w 7831667"/>
              <a:gd name="connsiteY106" fmla="*/ 477157 h 1540934"/>
              <a:gd name="connsiteX107" fmla="*/ 6620934 w 7831667"/>
              <a:gd name="connsiteY107" fmla="*/ 364067 h 1540934"/>
              <a:gd name="connsiteX108" fmla="*/ 6705600 w 7831667"/>
              <a:gd name="connsiteY108" fmla="*/ 431800 h 1540934"/>
              <a:gd name="connsiteX109" fmla="*/ 6756400 w 7831667"/>
              <a:gd name="connsiteY109" fmla="*/ 457200 h 1540934"/>
              <a:gd name="connsiteX110" fmla="*/ 6773334 w 7831667"/>
              <a:gd name="connsiteY110" fmla="*/ 474134 h 1540934"/>
              <a:gd name="connsiteX111" fmla="*/ 6832600 w 7831667"/>
              <a:gd name="connsiteY111" fmla="*/ 516467 h 1540934"/>
              <a:gd name="connsiteX112" fmla="*/ 6874934 w 7831667"/>
              <a:gd name="connsiteY112" fmla="*/ 524934 h 1540934"/>
              <a:gd name="connsiteX113" fmla="*/ 6917267 w 7831667"/>
              <a:gd name="connsiteY113" fmla="*/ 541867 h 1540934"/>
              <a:gd name="connsiteX114" fmla="*/ 7103534 w 7831667"/>
              <a:gd name="connsiteY114" fmla="*/ 524934 h 1540934"/>
              <a:gd name="connsiteX115" fmla="*/ 7239000 w 7831667"/>
              <a:gd name="connsiteY115" fmla="*/ 482600 h 1540934"/>
              <a:gd name="connsiteX116" fmla="*/ 7433734 w 7831667"/>
              <a:gd name="connsiteY116" fmla="*/ 448734 h 1540934"/>
              <a:gd name="connsiteX117" fmla="*/ 7476067 w 7831667"/>
              <a:gd name="connsiteY117" fmla="*/ 474134 h 1540934"/>
              <a:gd name="connsiteX118" fmla="*/ 7526867 w 7831667"/>
              <a:gd name="connsiteY118" fmla="*/ 558800 h 1540934"/>
              <a:gd name="connsiteX119" fmla="*/ 7577667 w 7831667"/>
              <a:gd name="connsiteY119" fmla="*/ 702734 h 1540934"/>
              <a:gd name="connsiteX120" fmla="*/ 7586134 w 7831667"/>
              <a:gd name="connsiteY120" fmla="*/ 745067 h 1540934"/>
              <a:gd name="connsiteX121" fmla="*/ 7628467 w 7831667"/>
              <a:gd name="connsiteY121" fmla="*/ 778934 h 1540934"/>
              <a:gd name="connsiteX122" fmla="*/ 7662334 w 7831667"/>
              <a:gd name="connsiteY122" fmla="*/ 795867 h 1540934"/>
              <a:gd name="connsiteX123" fmla="*/ 7696200 w 7831667"/>
              <a:gd name="connsiteY123" fmla="*/ 821267 h 1540934"/>
              <a:gd name="connsiteX124" fmla="*/ 7730067 w 7831667"/>
              <a:gd name="connsiteY124" fmla="*/ 829734 h 1540934"/>
              <a:gd name="connsiteX125" fmla="*/ 7763934 w 7831667"/>
              <a:gd name="connsiteY125" fmla="*/ 846667 h 1540934"/>
              <a:gd name="connsiteX126" fmla="*/ 7814734 w 7831667"/>
              <a:gd name="connsiteY126" fmla="*/ 897467 h 1540934"/>
              <a:gd name="connsiteX127" fmla="*/ 7831667 w 7831667"/>
              <a:gd name="connsiteY127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62134 w 7831667"/>
              <a:gd name="connsiteY104" fmla="*/ 59267 h 1540934"/>
              <a:gd name="connsiteX105" fmla="*/ 6082091 w 7831667"/>
              <a:gd name="connsiteY105" fmla="*/ 131234 h 1540934"/>
              <a:gd name="connsiteX106" fmla="*/ 6544734 w 7831667"/>
              <a:gd name="connsiteY106" fmla="*/ 477157 h 1540934"/>
              <a:gd name="connsiteX107" fmla="*/ 6620934 w 7831667"/>
              <a:gd name="connsiteY107" fmla="*/ 364067 h 1540934"/>
              <a:gd name="connsiteX108" fmla="*/ 6705600 w 7831667"/>
              <a:gd name="connsiteY108" fmla="*/ 431800 h 1540934"/>
              <a:gd name="connsiteX109" fmla="*/ 6756400 w 7831667"/>
              <a:gd name="connsiteY109" fmla="*/ 457200 h 1540934"/>
              <a:gd name="connsiteX110" fmla="*/ 6773334 w 7831667"/>
              <a:gd name="connsiteY110" fmla="*/ 474134 h 1540934"/>
              <a:gd name="connsiteX111" fmla="*/ 6832600 w 7831667"/>
              <a:gd name="connsiteY111" fmla="*/ 516467 h 1540934"/>
              <a:gd name="connsiteX112" fmla="*/ 6874934 w 7831667"/>
              <a:gd name="connsiteY112" fmla="*/ 524934 h 1540934"/>
              <a:gd name="connsiteX113" fmla="*/ 6917267 w 7831667"/>
              <a:gd name="connsiteY113" fmla="*/ 541867 h 1540934"/>
              <a:gd name="connsiteX114" fmla="*/ 7103534 w 7831667"/>
              <a:gd name="connsiteY114" fmla="*/ 524934 h 1540934"/>
              <a:gd name="connsiteX115" fmla="*/ 7239000 w 7831667"/>
              <a:gd name="connsiteY115" fmla="*/ 482600 h 1540934"/>
              <a:gd name="connsiteX116" fmla="*/ 7433734 w 7831667"/>
              <a:gd name="connsiteY116" fmla="*/ 448734 h 1540934"/>
              <a:gd name="connsiteX117" fmla="*/ 7476067 w 7831667"/>
              <a:gd name="connsiteY117" fmla="*/ 474134 h 1540934"/>
              <a:gd name="connsiteX118" fmla="*/ 7526867 w 7831667"/>
              <a:gd name="connsiteY118" fmla="*/ 558800 h 1540934"/>
              <a:gd name="connsiteX119" fmla="*/ 7577667 w 7831667"/>
              <a:gd name="connsiteY119" fmla="*/ 702734 h 1540934"/>
              <a:gd name="connsiteX120" fmla="*/ 7586134 w 7831667"/>
              <a:gd name="connsiteY120" fmla="*/ 745067 h 1540934"/>
              <a:gd name="connsiteX121" fmla="*/ 7628467 w 7831667"/>
              <a:gd name="connsiteY121" fmla="*/ 778934 h 1540934"/>
              <a:gd name="connsiteX122" fmla="*/ 7662334 w 7831667"/>
              <a:gd name="connsiteY122" fmla="*/ 795867 h 1540934"/>
              <a:gd name="connsiteX123" fmla="*/ 7696200 w 7831667"/>
              <a:gd name="connsiteY123" fmla="*/ 821267 h 1540934"/>
              <a:gd name="connsiteX124" fmla="*/ 7730067 w 7831667"/>
              <a:gd name="connsiteY124" fmla="*/ 829734 h 1540934"/>
              <a:gd name="connsiteX125" fmla="*/ 7763934 w 7831667"/>
              <a:gd name="connsiteY125" fmla="*/ 846667 h 1540934"/>
              <a:gd name="connsiteX126" fmla="*/ 7814734 w 7831667"/>
              <a:gd name="connsiteY126" fmla="*/ 897467 h 1540934"/>
              <a:gd name="connsiteX127" fmla="*/ 7831667 w 7831667"/>
              <a:gd name="connsiteY127" fmla="*/ 922867 h 1540934"/>
              <a:gd name="connsiteX0" fmla="*/ 0 w 7831667"/>
              <a:gd name="connsiteY0" fmla="*/ 1126067 h 1540934"/>
              <a:gd name="connsiteX1" fmla="*/ 8467 w 7831667"/>
              <a:gd name="connsiteY1" fmla="*/ 1168400 h 1540934"/>
              <a:gd name="connsiteX2" fmla="*/ 33867 w 7831667"/>
              <a:gd name="connsiteY2" fmla="*/ 1176867 h 1540934"/>
              <a:gd name="connsiteX3" fmla="*/ 67734 w 7831667"/>
              <a:gd name="connsiteY3" fmla="*/ 1193800 h 1540934"/>
              <a:gd name="connsiteX4" fmla="*/ 84667 w 7831667"/>
              <a:gd name="connsiteY4" fmla="*/ 1210734 h 1540934"/>
              <a:gd name="connsiteX5" fmla="*/ 135467 w 7831667"/>
              <a:gd name="connsiteY5" fmla="*/ 1236134 h 1540934"/>
              <a:gd name="connsiteX6" fmla="*/ 160867 w 7831667"/>
              <a:gd name="connsiteY6" fmla="*/ 1261534 h 1540934"/>
              <a:gd name="connsiteX7" fmla="*/ 194734 w 7831667"/>
              <a:gd name="connsiteY7" fmla="*/ 1278467 h 1540934"/>
              <a:gd name="connsiteX8" fmla="*/ 237067 w 7831667"/>
              <a:gd name="connsiteY8" fmla="*/ 1303867 h 1540934"/>
              <a:gd name="connsiteX9" fmla="*/ 262467 w 7831667"/>
              <a:gd name="connsiteY9" fmla="*/ 1320800 h 1540934"/>
              <a:gd name="connsiteX10" fmla="*/ 313267 w 7831667"/>
              <a:gd name="connsiteY10" fmla="*/ 1337734 h 1540934"/>
              <a:gd name="connsiteX11" fmla="*/ 372534 w 7831667"/>
              <a:gd name="connsiteY11" fmla="*/ 1380067 h 1540934"/>
              <a:gd name="connsiteX12" fmla="*/ 423334 w 7831667"/>
              <a:gd name="connsiteY12" fmla="*/ 1397000 h 1540934"/>
              <a:gd name="connsiteX13" fmla="*/ 448734 w 7831667"/>
              <a:gd name="connsiteY13" fmla="*/ 1405467 h 1540934"/>
              <a:gd name="connsiteX14" fmla="*/ 533400 w 7831667"/>
              <a:gd name="connsiteY14" fmla="*/ 1464734 h 1540934"/>
              <a:gd name="connsiteX15" fmla="*/ 567267 w 7831667"/>
              <a:gd name="connsiteY15" fmla="*/ 1473200 h 1540934"/>
              <a:gd name="connsiteX16" fmla="*/ 592667 w 7831667"/>
              <a:gd name="connsiteY16" fmla="*/ 1481667 h 1540934"/>
              <a:gd name="connsiteX17" fmla="*/ 677334 w 7831667"/>
              <a:gd name="connsiteY17" fmla="*/ 1498600 h 1540934"/>
              <a:gd name="connsiteX18" fmla="*/ 736600 w 7831667"/>
              <a:gd name="connsiteY18" fmla="*/ 1515534 h 1540934"/>
              <a:gd name="connsiteX19" fmla="*/ 778934 w 7831667"/>
              <a:gd name="connsiteY19" fmla="*/ 1524000 h 1540934"/>
              <a:gd name="connsiteX20" fmla="*/ 855134 w 7831667"/>
              <a:gd name="connsiteY20" fmla="*/ 1540934 h 1540934"/>
              <a:gd name="connsiteX21" fmla="*/ 1075267 w 7831667"/>
              <a:gd name="connsiteY21" fmla="*/ 1532467 h 1540934"/>
              <a:gd name="connsiteX22" fmla="*/ 1134534 w 7831667"/>
              <a:gd name="connsiteY22" fmla="*/ 1515534 h 1540934"/>
              <a:gd name="connsiteX23" fmla="*/ 1210734 w 7831667"/>
              <a:gd name="connsiteY23" fmla="*/ 1498600 h 1540934"/>
              <a:gd name="connsiteX24" fmla="*/ 1244600 w 7831667"/>
              <a:gd name="connsiteY24" fmla="*/ 1481667 h 1540934"/>
              <a:gd name="connsiteX25" fmla="*/ 1278467 w 7831667"/>
              <a:gd name="connsiteY25" fmla="*/ 1473200 h 1540934"/>
              <a:gd name="connsiteX26" fmla="*/ 1303867 w 7831667"/>
              <a:gd name="connsiteY26" fmla="*/ 1456267 h 1540934"/>
              <a:gd name="connsiteX27" fmla="*/ 1337734 w 7831667"/>
              <a:gd name="connsiteY27" fmla="*/ 1447800 h 1540934"/>
              <a:gd name="connsiteX28" fmla="*/ 1380067 w 7831667"/>
              <a:gd name="connsiteY28" fmla="*/ 1430867 h 1540934"/>
              <a:gd name="connsiteX29" fmla="*/ 1413934 w 7831667"/>
              <a:gd name="connsiteY29" fmla="*/ 1422400 h 1540934"/>
              <a:gd name="connsiteX30" fmla="*/ 1481667 w 7831667"/>
              <a:gd name="connsiteY30" fmla="*/ 1397000 h 1540934"/>
              <a:gd name="connsiteX31" fmla="*/ 1540934 w 7831667"/>
              <a:gd name="connsiteY31" fmla="*/ 1371600 h 1540934"/>
              <a:gd name="connsiteX32" fmla="*/ 1574800 w 7831667"/>
              <a:gd name="connsiteY32" fmla="*/ 1354667 h 1540934"/>
              <a:gd name="connsiteX33" fmla="*/ 1600200 w 7831667"/>
              <a:gd name="connsiteY33" fmla="*/ 1346200 h 1540934"/>
              <a:gd name="connsiteX34" fmla="*/ 1625600 w 7831667"/>
              <a:gd name="connsiteY34" fmla="*/ 1320800 h 1540934"/>
              <a:gd name="connsiteX35" fmla="*/ 1642534 w 7831667"/>
              <a:gd name="connsiteY35" fmla="*/ 1295400 h 1540934"/>
              <a:gd name="connsiteX36" fmla="*/ 1667934 w 7831667"/>
              <a:gd name="connsiteY36" fmla="*/ 1261534 h 1540934"/>
              <a:gd name="connsiteX37" fmla="*/ 1684867 w 7831667"/>
              <a:gd name="connsiteY37" fmla="*/ 1236134 h 1540934"/>
              <a:gd name="connsiteX38" fmla="*/ 1718734 w 7831667"/>
              <a:gd name="connsiteY38" fmla="*/ 1210734 h 1540934"/>
              <a:gd name="connsiteX39" fmla="*/ 1769534 w 7831667"/>
              <a:gd name="connsiteY39" fmla="*/ 1159934 h 1540934"/>
              <a:gd name="connsiteX40" fmla="*/ 1811867 w 7831667"/>
              <a:gd name="connsiteY40" fmla="*/ 1134534 h 1540934"/>
              <a:gd name="connsiteX41" fmla="*/ 1845734 w 7831667"/>
              <a:gd name="connsiteY41" fmla="*/ 1109134 h 1540934"/>
              <a:gd name="connsiteX42" fmla="*/ 1879600 w 7831667"/>
              <a:gd name="connsiteY42" fmla="*/ 1092200 h 1540934"/>
              <a:gd name="connsiteX43" fmla="*/ 1896534 w 7831667"/>
              <a:gd name="connsiteY43" fmla="*/ 1066800 h 1540934"/>
              <a:gd name="connsiteX44" fmla="*/ 1947334 w 7831667"/>
              <a:gd name="connsiteY44" fmla="*/ 1016000 h 1540934"/>
              <a:gd name="connsiteX45" fmla="*/ 1972734 w 7831667"/>
              <a:gd name="connsiteY45" fmla="*/ 999067 h 1540934"/>
              <a:gd name="connsiteX46" fmla="*/ 1998134 w 7831667"/>
              <a:gd name="connsiteY46" fmla="*/ 973667 h 1540934"/>
              <a:gd name="connsiteX47" fmla="*/ 2057400 w 7831667"/>
              <a:gd name="connsiteY47" fmla="*/ 931334 h 1540934"/>
              <a:gd name="connsiteX48" fmla="*/ 2125134 w 7831667"/>
              <a:gd name="connsiteY48" fmla="*/ 905934 h 1540934"/>
              <a:gd name="connsiteX49" fmla="*/ 2159000 w 7831667"/>
              <a:gd name="connsiteY49" fmla="*/ 880534 h 1540934"/>
              <a:gd name="connsiteX50" fmla="*/ 2209800 w 7831667"/>
              <a:gd name="connsiteY50" fmla="*/ 863600 h 1540934"/>
              <a:gd name="connsiteX51" fmla="*/ 2243667 w 7831667"/>
              <a:gd name="connsiteY51" fmla="*/ 846667 h 1540934"/>
              <a:gd name="connsiteX52" fmla="*/ 2336800 w 7831667"/>
              <a:gd name="connsiteY52" fmla="*/ 855134 h 1540934"/>
              <a:gd name="connsiteX53" fmla="*/ 2353734 w 7831667"/>
              <a:gd name="connsiteY53" fmla="*/ 872067 h 1540934"/>
              <a:gd name="connsiteX54" fmla="*/ 2404534 w 7831667"/>
              <a:gd name="connsiteY54" fmla="*/ 889000 h 1540934"/>
              <a:gd name="connsiteX55" fmla="*/ 2540000 w 7831667"/>
              <a:gd name="connsiteY55" fmla="*/ 880534 h 1540934"/>
              <a:gd name="connsiteX56" fmla="*/ 2582334 w 7831667"/>
              <a:gd name="connsiteY56" fmla="*/ 872067 h 1540934"/>
              <a:gd name="connsiteX57" fmla="*/ 2616200 w 7831667"/>
              <a:gd name="connsiteY57" fmla="*/ 880534 h 1540934"/>
              <a:gd name="connsiteX58" fmla="*/ 2658534 w 7831667"/>
              <a:gd name="connsiteY58" fmla="*/ 897467 h 1540934"/>
              <a:gd name="connsiteX59" fmla="*/ 2683934 w 7831667"/>
              <a:gd name="connsiteY59" fmla="*/ 905934 h 1540934"/>
              <a:gd name="connsiteX60" fmla="*/ 2734734 w 7831667"/>
              <a:gd name="connsiteY60" fmla="*/ 931334 h 1540934"/>
              <a:gd name="connsiteX61" fmla="*/ 2751667 w 7831667"/>
              <a:gd name="connsiteY61" fmla="*/ 956734 h 1540934"/>
              <a:gd name="connsiteX62" fmla="*/ 2827867 w 7831667"/>
              <a:gd name="connsiteY62" fmla="*/ 982134 h 1540934"/>
              <a:gd name="connsiteX63" fmla="*/ 2853267 w 7831667"/>
              <a:gd name="connsiteY63" fmla="*/ 990600 h 1540934"/>
              <a:gd name="connsiteX64" fmla="*/ 2921000 w 7831667"/>
              <a:gd name="connsiteY64" fmla="*/ 999067 h 1540934"/>
              <a:gd name="connsiteX65" fmla="*/ 2980267 w 7831667"/>
              <a:gd name="connsiteY65" fmla="*/ 1007534 h 1540934"/>
              <a:gd name="connsiteX66" fmla="*/ 3073400 w 7831667"/>
              <a:gd name="connsiteY66" fmla="*/ 1041400 h 1540934"/>
              <a:gd name="connsiteX67" fmla="*/ 3104849 w 7831667"/>
              <a:gd name="connsiteY67" fmla="*/ 1101877 h 1540934"/>
              <a:gd name="connsiteX68" fmla="*/ 3158068 w 7831667"/>
              <a:gd name="connsiteY68" fmla="*/ 1109134 h 1540934"/>
              <a:gd name="connsiteX69" fmla="*/ 3293534 w 7831667"/>
              <a:gd name="connsiteY69" fmla="*/ 1126067 h 1540934"/>
              <a:gd name="connsiteX70" fmla="*/ 3335867 w 7831667"/>
              <a:gd name="connsiteY70" fmla="*/ 1143000 h 1540934"/>
              <a:gd name="connsiteX71" fmla="*/ 3437467 w 7831667"/>
              <a:gd name="connsiteY71" fmla="*/ 1151467 h 1540934"/>
              <a:gd name="connsiteX72" fmla="*/ 3505200 w 7831667"/>
              <a:gd name="connsiteY72" fmla="*/ 1159934 h 1540934"/>
              <a:gd name="connsiteX73" fmla="*/ 3547534 w 7831667"/>
              <a:gd name="connsiteY73" fmla="*/ 1168400 h 1540934"/>
              <a:gd name="connsiteX74" fmla="*/ 3598334 w 7831667"/>
              <a:gd name="connsiteY74" fmla="*/ 1176867 h 1540934"/>
              <a:gd name="connsiteX75" fmla="*/ 3640667 w 7831667"/>
              <a:gd name="connsiteY75" fmla="*/ 1202267 h 1540934"/>
              <a:gd name="connsiteX76" fmla="*/ 3666067 w 7831667"/>
              <a:gd name="connsiteY76" fmla="*/ 1210734 h 1540934"/>
              <a:gd name="connsiteX77" fmla="*/ 3750734 w 7831667"/>
              <a:gd name="connsiteY77" fmla="*/ 1227667 h 1540934"/>
              <a:gd name="connsiteX78" fmla="*/ 3801534 w 7831667"/>
              <a:gd name="connsiteY78" fmla="*/ 1244600 h 1540934"/>
              <a:gd name="connsiteX79" fmla="*/ 4038600 w 7831667"/>
              <a:gd name="connsiteY79" fmla="*/ 1261534 h 1540934"/>
              <a:gd name="connsiteX80" fmla="*/ 4080934 w 7831667"/>
              <a:gd name="connsiteY80" fmla="*/ 1270000 h 1540934"/>
              <a:gd name="connsiteX81" fmla="*/ 4114800 w 7831667"/>
              <a:gd name="connsiteY81" fmla="*/ 1278467 h 1540934"/>
              <a:gd name="connsiteX82" fmla="*/ 4334934 w 7831667"/>
              <a:gd name="connsiteY82" fmla="*/ 1270000 h 1540934"/>
              <a:gd name="connsiteX83" fmla="*/ 4385734 w 7831667"/>
              <a:gd name="connsiteY83" fmla="*/ 1261534 h 1540934"/>
              <a:gd name="connsiteX84" fmla="*/ 4453467 w 7831667"/>
              <a:gd name="connsiteY84" fmla="*/ 1253067 h 1540934"/>
              <a:gd name="connsiteX85" fmla="*/ 4478867 w 7831667"/>
              <a:gd name="connsiteY85" fmla="*/ 1236134 h 1540934"/>
              <a:gd name="connsiteX86" fmla="*/ 4499429 w 7831667"/>
              <a:gd name="connsiteY86" fmla="*/ 1167796 h 1540934"/>
              <a:gd name="connsiteX87" fmla="*/ 4724400 w 7831667"/>
              <a:gd name="connsiteY87" fmla="*/ 1071639 h 1540934"/>
              <a:gd name="connsiteX88" fmla="*/ 4989891 w 7831667"/>
              <a:gd name="connsiteY88" fmla="*/ 872067 h 1540934"/>
              <a:gd name="connsiteX89" fmla="*/ 5046134 w 7831667"/>
              <a:gd name="connsiteY89" fmla="*/ 880534 h 1540934"/>
              <a:gd name="connsiteX90" fmla="*/ 5096934 w 7831667"/>
              <a:gd name="connsiteY90" fmla="*/ 812800 h 1540934"/>
              <a:gd name="connsiteX91" fmla="*/ 5122334 w 7831667"/>
              <a:gd name="connsiteY91" fmla="*/ 770467 h 1540934"/>
              <a:gd name="connsiteX92" fmla="*/ 5173134 w 7831667"/>
              <a:gd name="connsiteY92" fmla="*/ 719667 h 1540934"/>
              <a:gd name="connsiteX93" fmla="*/ 5207000 w 7831667"/>
              <a:gd name="connsiteY93" fmla="*/ 660400 h 1540934"/>
              <a:gd name="connsiteX94" fmla="*/ 5266267 w 7831667"/>
              <a:gd name="connsiteY94" fmla="*/ 558800 h 1540934"/>
              <a:gd name="connsiteX95" fmla="*/ 5520267 w 7831667"/>
              <a:gd name="connsiteY95" fmla="*/ 211667 h 1540934"/>
              <a:gd name="connsiteX96" fmla="*/ 5621867 w 7831667"/>
              <a:gd name="connsiteY96" fmla="*/ 135467 h 1540934"/>
              <a:gd name="connsiteX97" fmla="*/ 5655734 w 7831667"/>
              <a:gd name="connsiteY97" fmla="*/ 110067 h 1540934"/>
              <a:gd name="connsiteX98" fmla="*/ 5681134 w 7831667"/>
              <a:gd name="connsiteY98" fmla="*/ 84667 h 1540934"/>
              <a:gd name="connsiteX99" fmla="*/ 5731934 w 7831667"/>
              <a:gd name="connsiteY99" fmla="*/ 50800 h 1540934"/>
              <a:gd name="connsiteX100" fmla="*/ 5791200 w 7831667"/>
              <a:gd name="connsiteY100" fmla="*/ 16934 h 1540934"/>
              <a:gd name="connsiteX101" fmla="*/ 5833534 w 7831667"/>
              <a:gd name="connsiteY101" fmla="*/ 0 h 1540934"/>
              <a:gd name="connsiteX102" fmla="*/ 5952067 w 7831667"/>
              <a:gd name="connsiteY102" fmla="*/ 8467 h 1540934"/>
              <a:gd name="connsiteX103" fmla="*/ 6002867 w 7831667"/>
              <a:gd name="connsiteY103" fmla="*/ 16934 h 1540934"/>
              <a:gd name="connsiteX104" fmla="*/ 6082091 w 7831667"/>
              <a:gd name="connsiteY104" fmla="*/ 131234 h 1540934"/>
              <a:gd name="connsiteX105" fmla="*/ 6544734 w 7831667"/>
              <a:gd name="connsiteY105" fmla="*/ 477157 h 1540934"/>
              <a:gd name="connsiteX106" fmla="*/ 6620934 w 7831667"/>
              <a:gd name="connsiteY106" fmla="*/ 364067 h 1540934"/>
              <a:gd name="connsiteX107" fmla="*/ 6705600 w 7831667"/>
              <a:gd name="connsiteY107" fmla="*/ 431800 h 1540934"/>
              <a:gd name="connsiteX108" fmla="*/ 6756400 w 7831667"/>
              <a:gd name="connsiteY108" fmla="*/ 457200 h 1540934"/>
              <a:gd name="connsiteX109" fmla="*/ 6773334 w 7831667"/>
              <a:gd name="connsiteY109" fmla="*/ 474134 h 1540934"/>
              <a:gd name="connsiteX110" fmla="*/ 6832600 w 7831667"/>
              <a:gd name="connsiteY110" fmla="*/ 516467 h 1540934"/>
              <a:gd name="connsiteX111" fmla="*/ 6874934 w 7831667"/>
              <a:gd name="connsiteY111" fmla="*/ 524934 h 1540934"/>
              <a:gd name="connsiteX112" fmla="*/ 6917267 w 7831667"/>
              <a:gd name="connsiteY112" fmla="*/ 541867 h 1540934"/>
              <a:gd name="connsiteX113" fmla="*/ 7103534 w 7831667"/>
              <a:gd name="connsiteY113" fmla="*/ 524934 h 1540934"/>
              <a:gd name="connsiteX114" fmla="*/ 7239000 w 7831667"/>
              <a:gd name="connsiteY114" fmla="*/ 482600 h 1540934"/>
              <a:gd name="connsiteX115" fmla="*/ 7433734 w 7831667"/>
              <a:gd name="connsiteY115" fmla="*/ 448734 h 1540934"/>
              <a:gd name="connsiteX116" fmla="*/ 7476067 w 7831667"/>
              <a:gd name="connsiteY116" fmla="*/ 474134 h 1540934"/>
              <a:gd name="connsiteX117" fmla="*/ 7526867 w 7831667"/>
              <a:gd name="connsiteY117" fmla="*/ 558800 h 1540934"/>
              <a:gd name="connsiteX118" fmla="*/ 7577667 w 7831667"/>
              <a:gd name="connsiteY118" fmla="*/ 702734 h 1540934"/>
              <a:gd name="connsiteX119" fmla="*/ 7586134 w 7831667"/>
              <a:gd name="connsiteY119" fmla="*/ 745067 h 1540934"/>
              <a:gd name="connsiteX120" fmla="*/ 7628467 w 7831667"/>
              <a:gd name="connsiteY120" fmla="*/ 778934 h 1540934"/>
              <a:gd name="connsiteX121" fmla="*/ 7662334 w 7831667"/>
              <a:gd name="connsiteY121" fmla="*/ 795867 h 1540934"/>
              <a:gd name="connsiteX122" fmla="*/ 7696200 w 7831667"/>
              <a:gd name="connsiteY122" fmla="*/ 821267 h 1540934"/>
              <a:gd name="connsiteX123" fmla="*/ 7730067 w 7831667"/>
              <a:gd name="connsiteY123" fmla="*/ 829734 h 1540934"/>
              <a:gd name="connsiteX124" fmla="*/ 7763934 w 7831667"/>
              <a:gd name="connsiteY124" fmla="*/ 846667 h 1540934"/>
              <a:gd name="connsiteX125" fmla="*/ 7814734 w 7831667"/>
              <a:gd name="connsiteY125" fmla="*/ 897467 h 1540934"/>
              <a:gd name="connsiteX126" fmla="*/ 7831667 w 7831667"/>
              <a:gd name="connsiteY126" fmla="*/ 922867 h 1540934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74934 w 7831667"/>
              <a:gd name="connsiteY110" fmla="*/ 528097 h 1544097"/>
              <a:gd name="connsiteX111" fmla="*/ 6917267 w 7831667"/>
              <a:gd name="connsiteY111" fmla="*/ 545030 h 1544097"/>
              <a:gd name="connsiteX112" fmla="*/ 7103534 w 7831667"/>
              <a:gd name="connsiteY112" fmla="*/ 528097 h 1544097"/>
              <a:gd name="connsiteX113" fmla="*/ 7239000 w 7831667"/>
              <a:gd name="connsiteY113" fmla="*/ 485763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17267 w 7831667"/>
              <a:gd name="connsiteY111" fmla="*/ 545030 h 1544097"/>
              <a:gd name="connsiteX112" fmla="*/ 7103534 w 7831667"/>
              <a:gd name="connsiteY112" fmla="*/ 528097 h 1544097"/>
              <a:gd name="connsiteX113" fmla="*/ 7239000 w 7831667"/>
              <a:gd name="connsiteY113" fmla="*/ 485763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93467 w 7831667"/>
              <a:gd name="connsiteY111" fmla="*/ 594016 h 1544097"/>
              <a:gd name="connsiteX112" fmla="*/ 7103534 w 7831667"/>
              <a:gd name="connsiteY112" fmla="*/ 528097 h 1544097"/>
              <a:gd name="connsiteX113" fmla="*/ 7239000 w 7831667"/>
              <a:gd name="connsiteY113" fmla="*/ 485763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93467 w 7831667"/>
              <a:gd name="connsiteY111" fmla="*/ 594016 h 1544097"/>
              <a:gd name="connsiteX112" fmla="*/ 7103534 w 7831667"/>
              <a:gd name="connsiteY112" fmla="*/ 528097 h 1544097"/>
              <a:gd name="connsiteX113" fmla="*/ 7190015 w 7831667"/>
              <a:gd name="connsiteY113" fmla="*/ 556520 h 1544097"/>
              <a:gd name="connsiteX114" fmla="*/ 7433734 w 7831667"/>
              <a:gd name="connsiteY114" fmla="*/ 451897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620934 w 7831667"/>
              <a:gd name="connsiteY105" fmla="*/ 367230 h 1544097"/>
              <a:gd name="connsiteX106" fmla="*/ 6705600 w 7831667"/>
              <a:gd name="connsiteY106" fmla="*/ 434963 h 1544097"/>
              <a:gd name="connsiteX107" fmla="*/ 6756400 w 7831667"/>
              <a:gd name="connsiteY107" fmla="*/ 460363 h 1544097"/>
              <a:gd name="connsiteX108" fmla="*/ 6773334 w 7831667"/>
              <a:gd name="connsiteY108" fmla="*/ 477297 h 1544097"/>
              <a:gd name="connsiteX109" fmla="*/ 6832600 w 7831667"/>
              <a:gd name="connsiteY109" fmla="*/ 519630 h 1544097"/>
              <a:gd name="connsiteX110" fmla="*/ 6869491 w 7831667"/>
              <a:gd name="connsiteY110" fmla="*/ 702268 h 1544097"/>
              <a:gd name="connsiteX111" fmla="*/ 6993467 w 7831667"/>
              <a:gd name="connsiteY111" fmla="*/ 594016 h 1544097"/>
              <a:gd name="connsiteX112" fmla="*/ 7103534 w 7831667"/>
              <a:gd name="connsiteY112" fmla="*/ 528097 h 1544097"/>
              <a:gd name="connsiteX113" fmla="*/ 7190015 w 7831667"/>
              <a:gd name="connsiteY113" fmla="*/ 556520 h 1544097"/>
              <a:gd name="connsiteX114" fmla="*/ 7335763 w 7831667"/>
              <a:gd name="connsiteY114" fmla="*/ 484554 h 1544097"/>
              <a:gd name="connsiteX115" fmla="*/ 7476067 w 7831667"/>
              <a:gd name="connsiteY115" fmla="*/ 477297 h 1544097"/>
              <a:gd name="connsiteX116" fmla="*/ 7526867 w 7831667"/>
              <a:gd name="connsiteY116" fmla="*/ 561963 h 1544097"/>
              <a:gd name="connsiteX117" fmla="*/ 7577667 w 7831667"/>
              <a:gd name="connsiteY117" fmla="*/ 705897 h 1544097"/>
              <a:gd name="connsiteX118" fmla="*/ 7586134 w 7831667"/>
              <a:gd name="connsiteY118" fmla="*/ 748230 h 1544097"/>
              <a:gd name="connsiteX119" fmla="*/ 7628467 w 7831667"/>
              <a:gd name="connsiteY119" fmla="*/ 782097 h 1544097"/>
              <a:gd name="connsiteX120" fmla="*/ 7662334 w 7831667"/>
              <a:gd name="connsiteY120" fmla="*/ 799030 h 1544097"/>
              <a:gd name="connsiteX121" fmla="*/ 7696200 w 7831667"/>
              <a:gd name="connsiteY121" fmla="*/ 824430 h 1544097"/>
              <a:gd name="connsiteX122" fmla="*/ 7730067 w 7831667"/>
              <a:gd name="connsiteY122" fmla="*/ 832897 h 1544097"/>
              <a:gd name="connsiteX123" fmla="*/ 7763934 w 7831667"/>
              <a:gd name="connsiteY123" fmla="*/ 849830 h 1544097"/>
              <a:gd name="connsiteX124" fmla="*/ 7814734 w 7831667"/>
              <a:gd name="connsiteY124" fmla="*/ 900630 h 1544097"/>
              <a:gd name="connsiteX125" fmla="*/ 7831667 w 7831667"/>
              <a:gd name="connsiteY125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705600 w 7831667"/>
              <a:gd name="connsiteY105" fmla="*/ 434963 h 1544097"/>
              <a:gd name="connsiteX106" fmla="*/ 6756400 w 7831667"/>
              <a:gd name="connsiteY106" fmla="*/ 460363 h 1544097"/>
              <a:gd name="connsiteX107" fmla="*/ 6773334 w 7831667"/>
              <a:gd name="connsiteY107" fmla="*/ 477297 h 1544097"/>
              <a:gd name="connsiteX108" fmla="*/ 6832600 w 7831667"/>
              <a:gd name="connsiteY108" fmla="*/ 519630 h 1544097"/>
              <a:gd name="connsiteX109" fmla="*/ 6869491 w 7831667"/>
              <a:gd name="connsiteY109" fmla="*/ 702268 h 1544097"/>
              <a:gd name="connsiteX110" fmla="*/ 6993467 w 7831667"/>
              <a:gd name="connsiteY110" fmla="*/ 594016 h 1544097"/>
              <a:gd name="connsiteX111" fmla="*/ 7103534 w 7831667"/>
              <a:gd name="connsiteY111" fmla="*/ 528097 h 1544097"/>
              <a:gd name="connsiteX112" fmla="*/ 7190015 w 7831667"/>
              <a:gd name="connsiteY112" fmla="*/ 556520 h 1544097"/>
              <a:gd name="connsiteX113" fmla="*/ 7335763 w 7831667"/>
              <a:gd name="connsiteY113" fmla="*/ 484554 h 1544097"/>
              <a:gd name="connsiteX114" fmla="*/ 7476067 w 7831667"/>
              <a:gd name="connsiteY114" fmla="*/ 477297 h 1544097"/>
              <a:gd name="connsiteX115" fmla="*/ 7526867 w 7831667"/>
              <a:gd name="connsiteY115" fmla="*/ 561963 h 1544097"/>
              <a:gd name="connsiteX116" fmla="*/ 7577667 w 7831667"/>
              <a:gd name="connsiteY116" fmla="*/ 705897 h 1544097"/>
              <a:gd name="connsiteX117" fmla="*/ 7586134 w 7831667"/>
              <a:gd name="connsiteY117" fmla="*/ 748230 h 1544097"/>
              <a:gd name="connsiteX118" fmla="*/ 7628467 w 7831667"/>
              <a:gd name="connsiteY118" fmla="*/ 782097 h 1544097"/>
              <a:gd name="connsiteX119" fmla="*/ 7662334 w 7831667"/>
              <a:gd name="connsiteY119" fmla="*/ 799030 h 1544097"/>
              <a:gd name="connsiteX120" fmla="*/ 7696200 w 7831667"/>
              <a:gd name="connsiteY120" fmla="*/ 824430 h 1544097"/>
              <a:gd name="connsiteX121" fmla="*/ 7730067 w 7831667"/>
              <a:gd name="connsiteY121" fmla="*/ 832897 h 1544097"/>
              <a:gd name="connsiteX122" fmla="*/ 7763934 w 7831667"/>
              <a:gd name="connsiteY122" fmla="*/ 849830 h 1544097"/>
              <a:gd name="connsiteX123" fmla="*/ 7814734 w 7831667"/>
              <a:gd name="connsiteY123" fmla="*/ 900630 h 1544097"/>
              <a:gd name="connsiteX124" fmla="*/ 7831667 w 7831667"/>
              <a:gd name="connsiteY124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756400 w 7831667"/>
              <a:gd name="connsiteY105" fmla="*/ 460363 h 1544097"/>
              <a:gd name="connsiteX106" fmla="*/ 6773334 w 7831667"/>
              <a:gd name="connsiteY106" fmla="*/ 477297 h 1544097"/>
              <a:gd name="connsiteX107" fmla="*/ 6832600 w 7831667"/>
              <a:gd name="connsiteY107" fmla="*/ 519630 h 1544097"/>
              <a:gd name="connsiteX108" fmla="*/ 6869491 w 7831667"/>
              <a:gd name="connsiteY108" fmla="*/ 702268 h 1544097"/>
              <a:gd name="connsiteX109" fmla="*/ 6993467 w 7831667"/>
              <a:gd name="connsiteY109" fmla="*/ 594016 h 1544097"/>
              <a:gd name="connsiteX110" fmla="*/ 7103534 w 7831667"/>
              <a:gd name="connsiteY110" fmla="*/ 528097 h 1544097"/>
              <a:gd name="connsiteX111" fmla="*/ 7190015 w 7831667"/>
              <a:gd name="connsiteY111" fmla="*/ 556520 h 1544097"/>
              <a:gd name="connsiteX112" fmla="*/ 7335763 w 7831667"/>
              <a:gd name="connsiteY112" fmla="*/ 484554 h 1544097"/>
              <a:gd name="connsiteX113" fmla="*/ 7476067 w 7831667"/>
              <a:gd name="connsiteY113" fmla="*/ 477297 h 1544097"/>
              <a:gd name="connsiteX114" fmla="*/ 7526867 w 7831667"/>
              <a:gd name="connsiteY114" fmla="*/ 561963 h 1544097"/>
              <a:gd name="connsiteX115" fmla="*/ 7577667 w 7831667"/>
              <a:gd name="connsiteY115" fmla="*/ 705897 h 1544097"/>
              <a:gd name="connsiteX116" fmla="*/ 7586134 w 7831667"/>
              <a:gd name="connsiteY116" fmla="*/ 748230 h 1544097"/>
              <a:gd name="connsiteX117" fmla="*/ 7628467 w 7831667"/>
              <a:gd name="connsiteY117" fmla="*/ 782097 h 1544097"/>
              <a:gd name="connsiteX118" fmla="*/ 7662334 w 7831667"/>
              <a:gd name="connsiteY118" fmla="*/ 799030 h 1544097"/>
              <a:gd name="connsiteX119" fmla="*/ 7696200 w 7831667"/>
              <a:gd name="connsiteY119" fmla="*/ 824430 h 1544097"/>
              <a:gd name="connsiteX120" fmla="*/ 7730067 w 7831667"/>
              <a:gd name="connsiteY120" fmla="*/ 832897 h 1544097"/>
              <a:gd name="connsiteX121" fmla="*/ 7763934 w 7831667"/>
              <a:gd name="connsiteY121" fmla="*/ 849830 h 1544097"/>
              <a:gd name="connsiteX122" fmla="*/ 7814734 w 7831667"/>
              <a:gd name="connsiteY122" fmla="*/ 900630 h 1544097"/>
              <a:gd name="connsiteX123" fmla="*/ 7831667 w 7831667"/>
              <a:gd name="connsiteY123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756400 w 7831667"/>
              <a:gd name="connsiteY105" fmla="*/ 460363 h 1544097"/>
              <a:gd name="connsiteX106" fmla="*/ 6832600 w 7831667"/>
              <a:gd name="connsiteY106" fmla="*/ 519630 h 1544097"/>
              <a:gd name="connsiteX107" fmla="*/ 6869491 w 7831667"/>
              <a:gd name="connsiteY107" fmla="*/ 702268 h 1544097"/>
              <a:gd name="connsiteX108" fmla="*/ 6993467 w 7831667"/>
              <a:gd name="connsiteY108" fmla="*/ 594016 h 1544097"/>
              <a:gd name="connsiteX109" fmla="*/ 7103534 w 7831667"/>
              <a:gd name="connsiteY109" fmla="*/ 528097 h 1544097"/>
              <a:gd name="connsiteX110" fmla="*/ 7190015 w 7831667"/>
              <a:gd name="connsiteY110" fmla="*/ 556520 h 1544097"/>
              <a:gd name="connsiteX111" fmla="*/ 7335763 w 7831667"/>
              <a:gd name="connsiteY111" fmla="*/ 484554 h 1544097"/>
              <a:gd name="connsiteX112" fmla="*/ 7476067 w 7831667"/>
              <a:gd name="connsiteY112" fmla="*/ 477297 h 1544097"/>
              <a:gd name="connsiteX113" fmla="*/ 7526867 w 7831667"/>
              <a:gd name="connsiteY113" fmla="*/ 561963 h 1544097"/>
              <a:gd name="connsiteX114" fmla="*/ 7577667 w 7831667"/>
              <a:gd name="connsiteY114" fmla="*/ 705897 h 1544097"/>
              <a:gd name="connsiteX115" fmla="*/ 7586134 w 7831667"/>
              <a:gd name="connsiteY115" fmla="*/ 748230 h 1544097"/>
              <a:gd name="connsiteX116" fmla="*/ 7628467 w 7831667"/>
              <a:gd name="connsiteY116" fmla="*/ 782097 h 1544097"/>
              <a:gd name="connsiteX117" fmla="*/ 7662334 w 7831667"/>
              <a:gd name="connsiteY117" fmla="*/ 799030 h 1544097"/>
              <a:gd name="connsiteX118" fmla="*/ 7696200 w 7831667"/>
              <a:gd name="connsiteY118" fmla="*/ 824430 h 1544097"/>
              <a:gd name="connsiteX119" fmla="*/ 7730067 w 7831667"/>
              <a:gd name="connsiteY119" fmla="*/ 832897 h 1544097"/>
              <a:gd name="connsiteX120" fmla="*/ 7763934 w 7831667"/>
              <a:gd name="connsiteY120" fmla="*/ 849830 h 1544097"/>
              <a:gd name="connsiteX121" fmla="*/ 7814734 w 7831667"/>
              <a:gd name="connsiteY121" fmla="*/ 900630 h 1544097"/>
              <a:gd name="connsiteX122" fmla="*/ 7831667 w 7831667"/>
              <a:gd name="connsiteY122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32600 w 7831667"/>
              <a:gd name="connsiteY105" fmla="*/ 519630 h 1544097"/>
              <a:gd name="connsiteX106" fmla="*/ 6869491 w 7831667"/>
              <a:gd name="connsiteY106" fmla="*/ 702268 h 1544097"/>
              <a:gd name="connsiteX107" fmla="*/ 6993467 w 7831667"/>
              <a:gd name="connsiteY107" fmla="*/ 594016 h 1544097"/>
              <a:gd name="connsiteX108" fmla="*/ 7103534 w 7831667"/>
              <a:gd name="connsiteY108" fmla="*/ 528097 h 1544097"/>
              <a:gd name="connsiteX109" fmla="*/ 7190015 w 7831667"/>
              <a:gd name="connsiteY109" fmla="*/ 556520 h 1544097"/>
              <a:gd name="connsiteX110" fmla="*/ 7335763 w 7831667"/>
              <a:gd name="connsiteY110" fmla="*/ 484554 h 1544097"/>
              <a:gd name="connsiteX111" fmla="*/ 7476067 w 7831667"/>
              <a:gd name="connsiteY111" fmla="*/ 477297 h 1544097"/>
              <a:gd name="connsiteX112" fmla="*/ 7526867 w 7831667"/>
              <a:gd name="connsiteY112" fmla="*/ 561963 h 1544097"/>
              <a:gd name="connsiteX113" fmla="*/ 7577667 w 7831667"/>
              <a:gd name="connsiteY113" fmla="*/ 705897 h 1544097"/>
              <a:gd name="connsiteX114" fmla="*/ 7586134 w 7831667"/>
              <a:gd name="connsiteY114" fmla="*/ 748230 h 1544097"/>
              <a:gd name="connsiteX115" fmla="*/ 7628467 w 7831667"/>
              <a:gd name="connsiteY115" fmla="*/ 782097 h 1544097"/>
              <a:gd name="connsiteX116" fmla="*/ 7662334 w 7831667"/>
              <a:gd name="connsiteY116" fmla="*/ 799030 h 1544097"/>
              <a:gd name="connsiteX117" fmla="*/ 7696200 w 7831667"/>
              <a:gd name="connsiteY117" fmla="*/ 824430 h 1544097"/>
              <a:gd name="connsiteX118" fmla="*/ 7730067 w 7831667"/>
              <a:gd name="connsiteY118" fmla="*/ 832897 h 1544097"/>
              <a:gd name="connsiteX119" fmla="*/ 7763934 w 7831667"/>
              <a:gd name="connsiteY119" fmla="*/ 849830 h 1544097"/>
              <a:gd name="connsiteX120" fmla="*/ 7814734 w 7831667"/>
              <a:gd name="connsiteY120" fmla="*/ 900630 h 1544097"/>
              <a:gd name="connsiteX121" fmla="*/ 7831667 w 7831667"/>
              <a:gd name="connsiteY121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81134 w 7831667"/>
              <a:gd name="connsiteY98" fmla="*/ 878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69491 w 7831667"/>
              <a:gd name="connsiteY105" fmla="*/ 702268 h 1544097"/>
              <a:gd name="connsiteX106" fmla="*/ 6993467 w 7831667"/>
              <a:gd name="connsiteY106" fmla="*/ 594016 h 1544097"/>
              <a:gd name="connsiteX107" fmla="*/ 7103534 w 7831667"/>
              <a:gd name="connsiteY107" fmla="*/ 528097 h 1544097"/>
              <a:gd name="connsiteX108" fmla="*/ 7190015 w 7831667"/>
              <a:gd name="connsiteY108" fmla="*/ 556520 h 1544097"/>
              <a:gd name="connsiteX109" fmla="*/ 7335763 w 7831667"/>
              <a:gd name="connsiteY109" fmla="*/ 484554 h 1544097"/>
              <a:gd name="connsiteX110" fmla="*/ 7476067 w 7831667"/>
              <a:gd name="connsiteY110" fmla="*/ 477297 h 1544097"/>
              <a:gd name="connsiteX111" fmla="*/ 7526867 w 7831667"/>
              <a:gd name="connsiteY111" fmla="*/ 561963 h 1544097"/>
              <a:gd name="connsiteX112" fmla="*/ 7577667 w 7831667"/>
              <a:gd name="connsiteY112" fmla="*/ 705897 h 1544097"/>
              <a:gd name="connsiteX113" fmla="*/ 7586134 w 7831667"/>
              <a:gd name="connsiteY113" fmla="*/ 748230 h 1544097"/>
              <a:gd name="connsiteX114" fmla="*/ 7628467 w 7831667"/>
              <a:gd name="connsiteY114" fmla="*/ 782097 h 1544097"/>
              <a:gd name="connsiteX115" fmla="*/ 7662334 w 7831667"/>
              <a:gd name="connsiteY115" fmla="*/ 799030 h 1544097"/>
              <a:gd name="connsiteX116" fmla="*/ 7696200 w 7831667"/>
              <a:gd name="connsiteY116" fmla="*/ 824430 h 1544097"/>
              <a:gd name="connsiteX117" fmla="*/ 7730067 w 7831667"/>
              <a:gd name="connsiteY117" fmla="*/ 832897 h 1544097"/>
              <a:gd name="connsiteX118" fmla="*/ 7763934 w 7831667"/>
              <a:gd name="connsiteY118" fmla="*/ 849830 h 1544097"/>
              <a:gd name="connsiteX119" fmla="*/ 7814734 w 7831667"/>
              <a:gd name="connsiteY119" fmla="*/ 900630 h 1544097"/>
              <a:gd name="connsiteX120" fmla="*/ 7831667 w 7831667"/>
              <a:gd name="connsiteY120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55734 w 7831667"/>
              <a:gd name="connsiteY97" fmla="*/ 113230 h 1544097"/>
              <a:gd name="connsiteX98" fmla="*/ 5670248 w 7831667"/>
              <a:gd name="connsiteY98" fmla="*/ 497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69491 w 7831667"/>
              <a:gd name="connsiteY105" fmla="*/ 702268 h 1544097"/>
              <a:gd name="connsiteX106" fmla="*/ 6993467 w 7831667"/>
              <a:gd name="connsiteY106" fmla="*/ 594016 h 1544097"/>
              <a:gd name="connsiteX107" fmla="*/ 7103534 w 7831667"/>
              <a:gd name="connsiteY107" fmla="*/ 528097 h 1544097"/>
              <a:gd name="connsiteX108" fmla="*/ 7190015 w 7831667"/>
              <a:gd name="connsiteY108" fmla="*/ 556520 h 1544097"/>
              <a:gd name="connsiteX109" fmla="*/ 7335763 w 7831667"/>
              <a:gd name="connsiteY109" fmla="*/ 484554 h 1544097"/>
              <a:gd name="connsiteX110" fmla="*/ 7476067 w 7831667"/>
              <a:gd name="connsiteY110" fmla="*/ 477297 h 1544097"/>
              <a:gd name="connsiteX111" fmla="*/ 7526867 w 7831667"/>
              <a:gd name="connsiteY111" fmla="*/ 561963 h 1544097"/>
              <a:gd name="connsiteX112" fmla="*/ 7577667 w 7831667"/>
              <a:gd name="connsiteY112" fmla="*/ 705897 h 1544097"/>
              <a:gd name="connsiteX113" fmla="*/ 7586134 w 7831667"/>
              <a:gd name="connsiteY113" fmla="*/ 748230 h 1544097"/>
              <a:gd name="connsiteX114" fmla="*/ 7628467 w 7831667"/>
              <a:gd name="connsiteY114" fmla="*/ 782097 h 1544097"/>
              <a:gd name="connsiteX115" fmla="*/ 7662334 w 7831667"/>
              <a:gd name="connsiteY115" fmla="*/ 799030 h 1544097"/>
              <a:gd name="connsiteX116" fmla="*/ 7696200 w 7831667"/>
              <a:gd name="connsiteY116" fmla="*/ 824430 h 1544097"/>
              <a:gd name="connsiteX117" fmla="*/ 7730067 w 7831667"/>
              <a:gd name="connsiteY117" fmla="*/ 832897 h 1544097"/>
              <a:gd name="connsiteX118" fmla="*/ 7763934 w 7831667"/>
              <a:gd name="connsiteY118" fmla="*/ 849830 h 1544097"/>
              <a:gd name="connsiteX119" fmla="*/ 7814734 w 7831667"/>
              <a:gd name="connsiteY119" fmla="*/ 900630 h 1544097"/>
              <a:gd name="connsiteX120" fmla="*/ 7831667 w 7831667"/>
              <a:gd name="connsiteY120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21867 w 7831667"/>
              <a:gd name="connsiteY96" fmla="*/ 138630 h 1544097"/>
              <a:gd name="connsiteX97" fmla="*/ 5617634 w 7831667"/>
              <a:gd name="connsiteY97" fmla="*/ 75130 h 1544097"/>
              <a:gd name="connsiteX98" fmla="*/ 5670248 w 7831667"/>
              <a:gd name="connsiteY98" fmla="*/ 49730 h 1544097"/>
              <a:gd name="connsiteX99" fmla="*/ 5731934 w 7831667"/>
              <a:gd name="connsiteY99" fmla="*/ 53963 h 1544097"/>
              <a:gd name="connsiteX100" fmla="*/ 5791200 w 7831667"/>
              <a:gd name="connsiteY100" fmla="*/ 20097 h 1544097"/>
              <a:gd name="connsiteX101" fmla="*/ 5833534 w 7831667"/>
              <a:gd name="connsiteY101" fmla="*/ 3163 h 1544097"/>
              <a:gd name="connsiteX102" fmla="*/ 5952067 w 7831667"/>
              <a:gd name="connsiteY102" fmla="*/ 11630 h 1544097"/>
              <a:gd name="connsiteX103" fmla="*/ 6082091 w 7831667"/>
              <a:gd name="connsiteY103" fmla="*/ 134397 h 1544097"/>
              <a:gd name="connsiteX104" fmla="*/ 6544734 w 7831667"/>
              <a:gd name="connsiteY104" fmla="*/ 480320 h 1544097"/>
              <a:gd name="connsiteX105" fmla="*/ 6869491 w 7831667"/>
              <a:gd name="connsiteY105" fmla="*/ 702268 h 1544097"/>
              <a:gd name="connsiteX106" fmla="*/ 6993467 w 7831667"/>
              <a:gd name="connsiteY106" fmla="*/ 594016 h 1544097"/>
              <a:gd name="connsiteX107" fmla="*/ 7103534 w 7831667"/>
              <a:gd name="connsiteY107" fmla="*/ 528097 h 1544097"/>
              <a:gd name="connsiteX108" fmla="*/ 7190015 w 7831667"/>
              <a:gd name="connsiteY108" fmla="*/ 556520 h 1544097"/>
              <a:gd name="connsiteX109" fmla="*/ 7335763 w 7831667"/>
              <a:gd name="connsiteY109" fmla="*/ 484554 h 1544097"/>
              <a:gd name="connsiteX110" fmla="*/ 7476067 w 7831667"/>
              <a:gd name="connsiteY110" fmla="*/ 477297 h 1544097"/>
              <a:gd name="connsiteX111" fmla="*/ 7526867 w 7831667"/>
              <a:gd name="connsiteY111" fmla="*/ 561963 h 1544097"/>
              <a:gd name="connsiteX112" fmla="*/ 7577667 w 7831667"/>
              <a:gd name="connsiteY112" fmla="*/ 705897 h 1544097"/>
              <a:gd name="connsiteX113" fmla="*/ 7586134 w 7831667"/>
              <a:gd name="connsiteY113" fmla="*/ 748230 h 1544097"/>
              <a:gd name="connsiteX114" fmla="*/ 7628467 w 7831667"/>
              <a:gd name="connsiteY114" fmla="*/ 782097 h 1544097"/>
              <a:gd name="connsiteX115" fmla="*/ 7662334 w 7831667"/>
              <a:gd name="connsiteY115" fmla="*/ 799030 h 1544097"/>
              <a:gd name="connsiteX116" fmla="*/ 7696200 w 7831667"/>
              <a:gd name="connsiteY116" fmla="*/ 824430 h 1544097"/>
              <a:gd name="connsiteX117" fmla="*/ 7730067 w 7831667"/>
              <a:gd name="connsiteY117" fmla="*/ 832897 h 1544097"/>
              <a:gd name="connsiteX118" fmla="*/ 7763934 w 7831667"/>
              <a:gd name="connsiteY118" fmla="*/ 849830 h 1544097"/>
              <a:gd name="connsiteX119" fmla="*/ 7814734 w 7831667"/>
              <a:gd name="connsiteY119" fmla="*/ 900630 h 1544097"/>
              <a:gd name="connsiteX120" fmla="*/ 7831667 w 7831667"/>
              <a:gd name="connsiteY120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17634 w 7831667"/>
              <a:gd name="connsiteY96" fmla="*/ 75130 h 1544097"/>
              <a:gd name="connsiteX97" fmla="*/ 5670248 w 7831667"/>
              <a:gd name="connsiteY97" fmla="*/ 49730 h 1544097"/>
              <a:gd name="connsiteX98" fmla="*/ 5731934 w 7831667"/>
              <a:gd name="connsiteY98" fmla="*/ 53963 h 1544097"/>
              <a:gd name="connsiteX99" fmla="*/ 5791200 w 7831667"/>
              <a:gd name="connsiteY99" fmla="*/ 20097 h 1544097"/>
              <a:gd name="connsiteX100" fmla="*/ 5833534 w 7831667"/>
              <a:gd name="connsiteY100" fmla="*/ 3163 h 1544097"/>
              <a:gd name="connsiteX101" fmla="*/ 5952067 w 7831667"/>
              <a:gd name="connsiteY101" fmla="*/ 11630 h 1544097"/>
              <a:gd name="connsiteX102" fmla="*/ 6082091 w 7831667"/>
              <a:gd name="connsiteY102" fmla="*/ 134397 h 1544097"/>
              <a:gd name="connsiteX103" fmla="*/ 6544734 w 7831667"/>
              <a:gd name="connsiteY103" fmla="*/ 480320 h 1544097"/>
              <a:gd name="connsiteX104" fmla="*/ 6869491 w 7831667"/>
              <a:gd name="connsiteY104" fmla="*/ 702268 h 1544097"/>
              <a:gd name="connsiteX105" fmla="*/ 6993467 w 7831667"/>
              <a:gd name="connsiteY105" fmla="*/ 594016 h 1544097"/>
              <a:gd name="connsiteX106" fmla="*/ 7103534 w 7831667"/>
              <a:gd name="connsiteY106" fmla="*/ 528097 h 1544097"/>
              <a:gd name="connsiteX107" fmla="*/ 7190015 w 7831667"/>
              <a:gd name="connsiteY107" fmla="*/ 556520 h 1544097"/>
              <a:gd name="connsiteX108" fmla="*/ 7335763 w 7831667"/>
              <a:gd name="connsiteY108" fmla="*/ 484554 h 1544097"/>
              <a:gd name="connsiteX109" fmla="*/ 7476067 w 7831667"/>
              <a:gd name="connsiteY109" fmla="*/ 477297 h 1544097"/>
              <a:gd name="connsiteX110" fmla="*/ 7526867 w 7831667"/>
              <a:gd name="connsiteY110" fmla="*/ 561963 h 1544097"/>
              <a:gd name="connsiteX111" fmla="*/ 7577667 w 7831667"/>
              <a:gd name="connsiteY111" fmla="*/ 705897 h 1544097"/>
              <a:gd name="connsiteX112" fmla="*/ 7586134 w 7831667"/>
              <a:gd name="connsiteY112" fmla="*/ 748230 h 1544097"/>
              <a:gd name="connsiteX113" fmla="*/ 7628467 w 7831667"/>
              <a:gd name="connsiteY113" fmla="*/ 782097 h 1544097"/>
              <a:gd name="connsiteX114" fmla="*/ 7662334 w 7831667"/>
              <a:gd name="connsiteY114" fmla="*/ 799030 h 1544097"/>
              <a:gd name="connsiteX115" fmla="*/ 7696200 w 7831667"/>
              <a:gd name="connsiteY115" fmla="*/ 824430 h 1544097"/>
              <a:gd name="connsiteX116" fmla="*/ 7730067 w 7831667"/>
              <a:gd name="connsiteY116" fmla="*/ 832897 h 1544097"/>
              <a:gd name="connsiteX117" fmla="*/ 7763934 w 7831667"/>
              <a:gd name="connsiteY117" fmla="*/ 849830 h 1544097"/>
              <a:gd name="connsiteX118" fmla="*/ 7814734 w 7831667"/>
              <a:gd name="connsiteY118" fmla="*/ 900630 h 1544097"/>
              <a:gd name="connsiteX119" fmla="*/ 7831667 w 7831667"/>
              <a:gd name="connsiteY119" fmla="*/ 926030 h 1544097"/>
              <a:gd name="connsiteX0" fmla="*/ 0 w 7831667"/>
              <a:gd name="connsiteY0" fmla="*/ 1129230 h 1544097"/>
              <a:gd name="connsiteX1" fmla="*/ 8467 w 7831667"/>
              <a:gd name="connsiteY1" fmla="*/ 1171563 h 1544097"/>
              <a:gd name="connsiteX2" fmla="*/ 33867 w 7831667"/>
              <a:gd name="connsiteY2" fmla="*/ 1180030 h 1544097"/>
              <a:gd name="connsiteX3" fmla="*/ 67734 w 7831667"/>
              <a:gd name="connsiteY3" fmla="*/ 1196963 h 1544097"/>
              <a:gd name="connsiteX4" fmla="*/ 84667 w 7831667"/>
              <a:gd name="connsiteY4" fmla="*/ 1213897 h 1544097"/>
              <a:gd name="connsiteX5" fmla="*/ 135467 w 7831667"/>
              <a:gd name="connsiteY5" fmla="*/ 1239297 h 1544097"/>
              <a:gd name="connsiteX6" fmla="*/ 160867 w 7831667"/>
              <a:gd name="connsiteY6" fmla="*/ 1264697 h 1544097"/>
              <a:gd name="connsiteX7" fmla="*/ 194734 w 7831667"/>
              <a:gd name="connsiteY7" fmla="*/ 1281630 h 1544097"/>
              <a:gd name="connsiteX8" fmla="*/ 237067 w 7831667"/>
              <a:gd name="connsiteY8" fmla="*/ 1307030 h 1544097"/>
              <a:gd name="connsiteX9" fmla="*/ 262467 w 7831667"/>
              <a:gd name="connsiteY9" fmla="*/ 1323963 h 1544097"/>
              <a:gd name="connsiteX10" fmla="*/ 313267 w 7831667"/>
              <a:gd name="connsiteY10" fmla="*/ 1340897 h 1544097"/>
              <a:gd name="connsiteX11" fmla="*/ 372534 w 7831667"/>
              <a:gd name="connsiteY11" fmla="*/ 1383230 h 1544097"/>
              <a:gd name="connsiteX12" fmla="*/ 423334 w 7831667"/>
              <a:gd name="connsiteY12" fmla="*/ 1400163 h 1544097"/>
              <a:gd name="connsiteX13" fmla="*/ 448734 w 7831667"/>
              <a:gd name="connsiteY13" fmla="*/ 1408630 h 1544097"/>
              <a:gd name="connsiteX14" fmla="*/ 533400 w 7831667"/>
              <a:gd name="connsiteY14" fmla="*/ 1467897 h 1544097"/>
              <a:gd name="connsiteX15" fmla="*/ 567267 w 7831667"/>
              <a:gd name="connsiteY15" fmla="*/ 1476363 h 1544097"/>
              <a:gd name="connsiteX16" fmla="*/ 592667 w 7831667"/>
              <a:gd name="connsiteY16" fmla="*/ 1484830 h 1544097"/>
              <a:gd name="connsiteX17" fmla="*/ 677334 w 7831667"/>
              <a:gd name="connsiteY17" fmla="*/ 1501763 h 1544097"/>
              <a:gd name="connsiteX18" fmla="*/ 736600 w 7831667"/>
              <a:gd name="connsiteY18" fmla="*/ 1518697 h 1544097"/>
              <a:gd name="connsiteX19" fmla="*/ 778934 w 7831667"/>
              <a:gd name="connsiteY19" fmla="*/ 1527163 h 1544097"/>
              <a:gd name="connsiteX20" fmla="*/ 855134 w 7831667"/>
              <a:gd name="connsiteY20" fmla="*/ 1544097 h 1544097"/>
              <a:gd name="connsiteX21" fmla="*/ 1075267 w 7831667"/>
              <a:gd name="connsiteY21" fmla="*/ 1535630 h 1544097"/>
              <a:gd name="connsiteX22" fmla="*/ 1134534 w 7831667"/>
              <a:gd name="connsiteY22" fmla="*/ 1518697 h 1544097"/>
              <a:gd name="connsiteX23" fmla="*/ 1210734 w 7831667"/>
              <a:gd name="connsiteY23" fmla="*/ 1501763 h 1544097"/>
              <a:gd name="connsiteX24" fmla="*/ 1244600 w 7831667"/>
              <a:gd name="connsiteY24" fmla="*/ 1484830 h 1544097"/>
              <a:gd name="connsiteX25" fmla="*/ 1278467 w 7831667"/>
              <a:gd name="connsiteY25" fmla="*/ 1476363 h 1544097"/>
              <a:gd name="connsiteX26" fmla="*/ 1303867 w 7831667"/>
              <a:gd name="connsiteY26" fmla="*/ 1459430 h 1544097"/>
              <a:gd name="connsiteX27" fmla="*/ 1337734 w 7831667"/>
              <a:gd name="connsiteY27" fmla="*/ 1450963 h 1544097"/>
              <a:gd name="connsiteX28" fmla="*/ 1380067 w 7831667"/>
              <a:gd name="connsiteY28" fmla="*/ 1434030 h 1544097"/>
              <a:gd name="connsiteX29" fmla="*/ 1413934 w 7831667"/>
              <a:gd name="connsiteY29" fmla="*/ 1425563 h 1544097"/>
              <a:gd name="connsiteX30" fmla="*/ 1481667 w 7831667"/>
              <a:gd name="connsiteY30" fmla="*/ 1400163 h 1544097"/>
              <a:gd name="connsiteX31" fmla="*/ 1540934 w 7831667"/>
              <a:gd name="connsiteY31" fmla="*/ 1374763 h 1544097"/>
              <a:gd name="connsiteX32" fmla="*/ 1574800 w 7831667"/>
              <a:gd name="connsiteY32" fmla="*/ 1357830 h 1544097"/>
              <a:gd name="connsiteX33" fmla="*/ 1600200 w 7831667"/>
              <a:gd name="connsiteY33" fmla="*/ 1349363 h 1544097"/>
              <a:gd name="connsiteX34" fmla="*/ 1625600 w 7831667"/>
              <a:gd name="connsiteY34" fmla="*/ 1323963 h 1544097"/>
              <a:gd name="connsiteX35" fmla="*/ 1642534 w 7831667"/>
              <a:gd name="connsiteY35" fmla="*/ 1298563 h 1544097"/>
              <a:gd name="connsiteX36" fmla="*/ 1667934 w 7831667"/>
              <a:gd name="connsiteY36" fmla="*/ 1264697 h 1544097"/>
              <a:gd name="connsiteX37" fmla="*/ 1684867 w 7831667"/>
              <a:gd name="connsiteY37" fmla="*/ 1239297 h 1544097"/>
              <a:gd name="connsiteX38" fmla="*/ 1718734 w 7831667"/>
              <a:gd name="connsiteY38" fmla="*/ 1213897 h 1544097"/>
              <a:gd name="connsiteX39" fmla="*/ 1769534 w 7831667"/>
              <a:gd name="connsiteY39" fmla="*/ 1163097 h 1544097"/>
              <a:gd name="connsiteX40" fmla="*/ 1811867 w 7831667"/>
              <a:gd name="connsiteY40" fmla="*/ 1137697 h 1544097"/>
              <a:gd name="connsiteX41" fmla="*/ 1845734 w 7831667"/>
              <a:gd name="connsiteY41" fmla="*/ 1112297 h 1544097"/>
              <a:gd name="connsiteX42" fmla="*/ 1879600 w 7831667"/>
              <a:gd name="connsiteY42" fmla="*/ 1095363 h 1544097"/>
              <a:gd name="connsiteX43" fmla="*/ 1896534 w 7831667"/>
              <a:gd name="connsiteY43" fmla="*/ 1069963 h 1544097"/>
              <a:gd name="connsiteX44" fmla="*/ 1947334 w 7831667"/>
              <a:gd name="connsiteY44" fmla="*/ 1019163 h 1544097"/>
              <a:gd name="connsiteX45" fmla="*/ 1972734 w 7831667"/>
              <a:gd name="connsiteY45" fmla="*/ 1002230 h 1544097"/>
              <a:gd name="connsiteX46" fmla="*/ 1998134 w 7831667"/>
              <a:gd name="connsiteY46" fmla="*/ 976830 h 1544097"/>
              <a:gd name="connsiteX47" fmla="*/ 2057400 w 7831667"/>
              <a:gd name="connsiteY47" fmla="*/ 934497 h 1544097"/>
              <a:gd name="connsiteX48" fmla="*/ 2125134 w 7831667"/>
              <a:gd name="connsiteY48" fmla="*/ 909097 h 1544097"/>
              <a:gd name="connsiteX49" fmla="*/ 2159000 w 7831667"/>
              <a:gd name="connsiteY49" fmla="*/ 883697 h 1544097"/>
              <a:gd name="connsiteX50" fmla="*/ 2209800 w 7831667"/>
              <a:gd name="connsiteY50" fmla="*/ 866763 h 1544097"/>
              <a:gd name="connsiteX51" fmla="*/ 2243667 w 7831667"/>
              <a:gd name="connsiteY51" fmla="*/ 849830 h 1544097"/>
              <a:gd name="connsiteX52" fmla="*/ 2336800 w 7831667"/>
              <a:gd name="connsiteY52" fmla="*/ 858297 h 1544097"/>
              <a:gd name="connsiteX53" fmla="*/ 2353734 w 7831667"/>
              <a:gd name="connsiteY53" fmla="*/ 875230 h 1544097"/>
              <a:gd name="connsiteX54" fmla="*/ 2404534 w 7831667"/>
              <a:gd name="connsiteY54" fmla="*/ 892163 h 1544097"/>
              <a:gd name="connsiteX55" fmla="*/ 2540000 w 7831667"/>
              <a:gd name="connsiteY55" fmla="*/ 883697 h 1544097"/>
              <a:gd name="connsiteX56" fmla="*/ 2582334 w 7831667"/>
              <a:gd name="connsiteY56" fmla="*/ 875230 h 1544097"/>
              <a:gd name="connsiteX57" fmla="*/ 2616200 w 7831667"/>
              <a:gd name="connsiteY57" fmla="*/ 883697 h 1544097"/>
              <a:gd name="connsiteX58" fmla="*/ 2658534 w 7831667"/>
              <a:gd name="connsiteY58" fmla="*/ 900630 h 1544097"/>
              <a:gd name="connsiteX59" fmla="*/ 2683934 w 7831667"/>
              <a:gd name="connsiteY59" fmla="*/ 909097 h 1544097"/>
              <a:gd name="connsiteX60" fmla="*/ 2734734 w 7831667"/>
              <a:gd name="connsiteY60" fmla="*/ 934497 h 1544097"/>
              <a:gd name="connsiteX61" fmla="*/ 2751667 w 7831667"/>
              <a:gd name="connsiteY61" fmla="*/ 959897 h 1544097"/>
              <a:gd name="connsiteX62" fmla="*/ 2827867 w 7831667"/>
              <a:gd name="connsiteY62" fmla="*/ 985297 h 1544097"/>
              <a:gd name="connsiteX63" fmla="*/ 2853267 w 7831667"/>
              <a:gd name="connsiteY63" fmla="*/ 993763 h 1544097"/>
              <a:gd name="connsiteX64" fmla="*/ 2921000 w 7831667"/>
              <a:gd name="connsiteY64" fmla="*/ 1002230 h 1544097"/>
              <a:gd name="connsiteX65" fmla="*/ 2980267 w 7831667"/>
              <a:gd name="connsiteY65" fmla="*/ 1010697 h 1544097"/>
              <a:gd name="connsiteX66" fmla="*/ 3073400 w 7831667"/>
              <a:gd name="connsiteY66" fmla="*/ 1044563 h 1544097"/>
              <a:gd name="connsiteX67" fmla="*/ 3104849 w 7831667"/>
              <a:gd name="connsiteY67" fmla="*/ 1105040 h 1544097"/>
              <a:gd name="connsiteX68" fmla="*/ 3158068 w 7831667"/>
              <a:gd name="connsiteY68" fmla="*/ 1112297 h 1544097"/>
              <a:gd name="connsiteX69" fmla="*/ 3293534 w 7831667"/>
              <a:gd name="connsiteY69" fmla="*/ 1129230 h 1544097"/>
              <a:gd name="connsiteX70" fmla="*/ 3335867 w 7831667"/>
              <a:gd name="connsiteY70" fmla="*/ 1146163 h 1544097"/>
              <a:gd name="connsiteX71" fmla="*/ 3437467 w 7831667"/>
              <a:gd name="connsiteY71" fmla="*/ 1154630 h 1544097"/>
              <a:gd name="connsiteX72" fmla="*/ 3505200 w 7831667"/>
              <a:gd name="connsiteY72" fmla="*/ 1163097 h 1544097"/>
              <a:gd name="connsiteX73" fmla="*/ 3547534 w 7831667"/>
              <a:gd name="connsiteY73" fmla="*/ 1171563 h 1544097"/>
              <a:gd name="connsiteX74" fmla="*/ 3598334 w 7831667"/>
              <a:gd name="connsiteY74" fmla="*/ 1180030 h 1544097"/>
              <a:gd name="connsiteX75" fmla="*/ 3640667 w 7831667"/>
              <a:gd name="connsiteY75" fmla="*/ 1205430 h 1544097"/>
              <a:gd name="connsiteX76" fmla="*/ 3666067 w 7831667"/>
              <a:gd name="connsiteY76" fmla="*/ 1213897 h 1544097"/>
              <a:gd name="connsiteX77" fmla="*/ 3750734 w 7831667"/>
              <a:gd name="connsiteY77" fmla="*/ 1230830 h 1544097"/>
              <a:gd name="connsiteX78" fmla="*/ 3801534 w 7831667"/>
              <a:gd name="connsiteY78" fmla="*/ 1247763 h 1544097"/>
              <a:gd name="connsiteX79" fmla="*/ 4038600 w 7831667"/>
              <a:gd name="connsiteY79" fmla="*/ 1264697 h 1544097"/>
              <a:gd name="connsiteX80" fmla="*/ 4080934 w 7831667"/>
              <a:gd name="connsiteY80" fmla="*/ 1273163 h 1544097"/>
              <a:gd name="connsiteX81" fmla="*/ 4114800 w 7831667"/>
              <a:gd name="connsiteY81" fmla="*/ 1281630 h 1544097"/>
              <a:gd name="connsiteX82" fmla="*/ 4334934 w 7831667"/>
              <a:gd name="connsiteY82" fmla="*/ 1273163 h 1544097"/>
              <a:gd name="connsiteX83" fmla="*/ 4385734 w 7831667"/>
              <a:gd name="connsiteY83" fmla="*/ 1264697 h 1544097"/>
              <a:gd name="connsiteX84" fmla="*/ 4453467 w 7831667"/>
              <a:gd name="connsiteY84" fmla="*/ 1256230 h 1544097"/>
              <a:gd name="connsiteX85" fmla="*/ 4478867 w 7831667"/>
              <a:gd name="connsiteY85" fmla="*/ 1239297 h 1544097"/>
              <a:gd name="connsiteX86" fmla="*/ 4499429 w 7831667"/>
              <a:gd name="connsiteY86" fmla="*/ 1170959 h 1544097"/>
              <a:gd name="connsiteX87" fmla="*/ 4724400 w 7831667"/>
              <a:gd name="connsiteY87" fmla="*/ 1074802 h 1544097"/>
              <a:gd name="connsiteX88" fmla="*/ 4989891 w 7831667"/>
              <a:gd name="connsiteY88" fmla="*/ 875230 h 1544097"/>
              <a:gd name="connsiteX89" fmla="*/ 5046134 w 7831667"/>
              <a:gd name="connsiteY89" fmla="*/ 883697 h 1544097"/>
              <a:gd name="connsiteX90" fmla="*/ 5096934 w 7831667"/>
              <a:gd name="connsiteY90" fmla="*/ 815963 h 1544097"/>
              <a:gd name="connsiteX91" fmla="*/ 5122334 w 7831667"/>
              <a:gd name="connsiteY91" fmla="*/ 773630 h 1544097"/>
              <a:gd name="connsiteX92" fmla="*/ 5173134 w 7831667"/>
              <a:gd name="connsiteY92" fmla="*/ 722830 h 1544097"/>
              <a:gd name="connsiteX93" fmla="*/ 5207000 w 7831667"/>
              <a:gd name="connsiteY93" fmla="*/ 663563 h 1544097"/>
              <a:gd name="connsiteX94" fmla="*/ 5266267 w 7831667"/>
              <a:gd name="connsiteY94" fmla="*/ 561963 h 1544097"/>
              <a:gd name="connsiteX95" fmla="*/ 5520267 w 7831667"/>
              <a:gd name="connsiteY95" fmla="*/ 214830 h 1544097"/>
              <a:gd name="connsiteX96" fmla="*/ 5617634 w 7831667"/>
              <a:gd name="connsiteY96" fmla="*/ 75130 h 1544097"/>
              <a:gd name="connsiteX97" fmla="*/ 5670248 w 7831667"/>
              <a:gd name="connsiteY97" fmla="*/ 49730 h 1544097"/>
              <a:gd name="connsiteX98" fmla="*/ 5791200 w 7831667"/>
              <a:gd name="connsiteY98" fmla="*/ 20097 h 1544097"/>
              <a:gd name="connsiteX99" fmla="*/ 5833534 w 7831667"/>
              <a:gd name="connsiteY99" fmla="*/ 3163 h 1544097"/>
              <a:gd name="connsiteX100" fmla="*/ 5952067 w 7831667"/>
              <a:gd name="connsiteY100" fmla="*/ 11630 h 1544097"/>
              <a:gd name="connsiteX101" fmla="*/ 6082091 w 7831667"/>
              <a:gd name="connsiteY101" fmla="*/ 134397 h 1544097"/>
              <a:gd name="connsiteX102" fmla="*/ 6544734 w 7831667"/>
              <a:gd name="connsiteY102" fmla="*/ 480320 h 1544097"/>
              <a:gd name="connsiteX103" fmla="*/ 6869491 w 7831667"/>
              <a:gd name="connsiteY103" fmla="*/ 702268 h 1544097"/>
              <a:gd name="connsiteX104" fmla="*/ 6993467 w 7831667"/>
              <a:gd name="connsiteY104" fmla="*/ 594016 h 1544097"/>
              <a:gd name="connsiteX105" fmla="*/ 7103534 w 7831667"/>
              <a:gd name="connsiteY105" fmla="*/ 528097 h 1544097"/>
              <a:gd name="connsiteX106" fmla="*/ 7190015 w 7831667"/>
              <a:gd name="connsiteY106" fmla="*/ 556520 h 1544097"/>
              <a:gd name="connsiteX107" fmla="*/ 7335763 w 7831667"/>
              <a:gd name="connsiteY107" fmla="*/ 484554 h 1544097"/>
              <a:gd name="connsiteX108" fmla="*/ 7476067 w 7831667"/>
              <a:gd name="connsiteY108" fmla="*/ 477297 h 1544097"/>
              <a:gd name="connsiteX109" fmla="*/ 7526867 w 7831667"/>
              <a:gd name="connsiteY109" fmla="*/ 561963 h 1544097"/>
              <a:gd name="connsiteX110" fmla="*/ 7577667 w 7831667"/>
              <a:gd name="connsiteY110" fmla="*/ 705897 h 1544097"/>
              <a:gd name="connsiteX111" fmla="*/ 7586134 w 7831667"/>
              <a:gd name="connsiteY111" fmla="*/ 748230 h 1544097"/>
              <a:gd name="connsiteX112" fmla="*/ 7628467 w 7831667"/>
              <a:gd name="connsiteY112" fmla="*/ 782097 h 1544097"/>
              <a:gd name="connsiteX113" fmla="*/ 7662334 w 7831667"/>
              <a:gd name="connsiteY113" fmla="*/ 799030 h 1544097"/>
              <a:gd name="connsiteX114" fmla="*/ 7696200 w 7831667"/>
              <a:gd name="connsiteY114" fmla="*/ 824430 h 1544097"/>
              <a:gd name="connsiteX115" fmla="*/ 7730067 w 7831667"/>
              <a:gd name="connsiteY115" fmla="*/ 832897 h 1544097"/>
              <a:gd name="connsiteX116" fmla="*/ 7763934 w 7831667"/>
              <a:gd name="connsiteY116" fmla="*/ 849830 h 1544097"/>
              <a:gd name="connsiteX117" fmla="*/ 7814734 w 7831667"/>
              <a:gd name="connsiteY117" fmla="*/ 900630 h 1544097"/>
              <a:gd name="connsiteX118" fmla="*/ 7831667 w 7831667"/>
              <a:gd name="connsiteY118" fmla="*/ 926030 h 1544097"/>
              <a:gd name="connsiteX0" fmla="*/ 0 w 7831667"/>
              <a:gd name="connsiteY0" fmla="*/ 1132423 h 1547290"/>
              <a:gd name="connsiteX1" fmla="*/ 8467 w 7831667"/>
              <a:gd name="connsiteY1" fmla="*/ 1174756 h 1547290"/>
              <a:gd name="connsiteX2" fmla="*/ 33867 w 7831667"/>
              <a:gd name="connsiteY2" fmla="*/ 1183223 h 1547290"/>
              <a:gd name="connsiteX3" fmla="*/ 67734 w 7831667"/>
              <a:gd name="connsiteY3" fmla="*/ 1200156 h 1547290"/>
              <a:gd name="connsiteX4" fmla="*/ 84667 w 7831667"/>
              <a:gd name="connsiteY4" fmla="*/ 1217090 h 1547290"/>
              <a:gd name="connsiteX5" fmla="*/ 135467 w 7831667"/>
              <a:gd name="connsiteY5" fmla="*/ 1242490 h 1547290"/>
              <a:gd name="connsiteX6" fmla="*/ 160867 w 7831667"/>
              <a:gd name="connsiteY6" fmla="*/ 1267890 h 1547290"/>
              <a:gd name="connsiteX7" fmla="*/ 194734 w 7831667"/>
              <a:gd name="connsiteY7" fmla="*/ 1284823 h 1547290"/>
              <a:gd name="connsiteX8" fmla="*/ 237067 w 7831667"/>
              <a:gd name="connsiteY8" fmla="*/ 1310223 h 1547290"/>
              <a:gd name="connsiteX9" fmla="*/ 262467 w 7831667"/>
              <a:gd name="connsiteY9" fmla="*/ 1327156 h 1547290"/>
              <a:gd name="connsiteX10" fmla="*/ 313267 w 7831667"/>
              <a:gd name="connsiteY10" fmla="*/ 1344090 h 1547290"/>
              <a:gd name="connsiteX11" fmla="*/ 372534 w 7831667"/>
              <a:gd name="connsiteY11" fmla="*/ 1386423 h 1547290"/>
              <a:gd name="connsiteX12" fmla="*/ 423334 w 7831667"/>
              <a:gd name="connsiteY12" fmla="*/ 1403356 h 1547290"/>
              <a:gd name="connsiteX13" fmla="*/ 448734 w 7831667"/>
              <a:gd name="connsiteY13" fmla="*/ 1411823 h 1547290"/>
              <a:gd name="connsiteX14" fmla="*/ 533400 w 7831667"/>
              <a:gd name="connsiteY14" fmla="*/ 1471090 h 1547290"/>
              <a:gd name="connsiteX15" fmla="*/ 567267 w 7831667"/>
              <a:gd name="connsiteY15" fmla="*/ 1479556 h 1547290"/>
              <a:gd name="connsiteX16" fmla="*/ 592667 w 7831667"/>
              <a:gd name="connsiteY16" fmla="*/ 1488023 h 1547290"/>
              <a:gd name="connsiteX17" fmla="*/ 677334 w 7831667"/>
              <a:gd name="connsiteY17" fmla="*/ 1504956 h 1547290"/>
              <a:gd name="connsiteX18" fmla="*/ 736600 w 7831667"/>
              <a:gd name="connsiteY18" fmla="*/ 1521890 h 1547290"/>
              <a:gd name="connsiteX19" fmla="*/ 778934 w 7831667"/>
              <a:gd name="connsiteY19" fmla="*/ 1530356 h 1547290"/>
              <a:gd name="connsiteX20" fmla="*/ 855134 w 7831667"/>
              <a:gd name="connsiteY20" fmla="*/ 1547290 h 1547290"/>
              <a:gd name="connsiteX21" fmla="*/ 1075267 w 7831667"/>
              <a:gd name="connsiteY21" fmla="*/ 1538823 h 1547290"/>
              <a:gd name="connsiteX22" fmla="*/ 1134534 w 7831667"/>
              <a:gd name="connsiteY22" fmla="*/ 1521890 h 1547290"/>
              <a:gd name="connsiteX23" fmla="*/ 1210734 w 7831667"/>
              <a:gd name="connsiteY23" fmla="*/ 1504956 h 1547290"/>
              <a:gd name="connsiteX24" fmla="*/ 1244600 w 7831667"/>
              <a:gd name="connsiteY24" fmla="*/ 1488023 h 1547290"/>
              <a:gd name="connsiteX25" fmla="*/ 1278467 w 7831667"/>
              <a:gd name="connsiteY25" fmla="*/ 1479556 h 1547290"/>
              <a:gd name="connsiteX26" fmla="*/ 1303867 w 7831667"/>
              <a:gd name="connsiteY26" fmla="*/ 1462623 h 1547290"/>
              <a:gd name="connsiteX27" fmla="*/ 1337734 w 7831667"/>
              <a:gd name="connsiteY27" fmla="*/ 1454156 h 1547290"/>
              <a:gd name="connsiteX28" fmla="*/ 1380067 w 7831667"/>
              <a:gd name="connsiteY28" fmla="*/ 1437223 h 1547290"/>
              <a:gd name="connsiteX29" fmla="*/ 1413934 w 7831667"/>
              <a:gd name="connsiteY29" fmla="*/ 1428756 h 1547290"/>
              <a:gd name="connsiteX30" fmla="*/ 1481667 w 7831667"/>
              <a:gd name="connsiteY30" fmla="*/ 1403356 h 1547290"/>
              <a:gd name="connsiteX31" fmla="*/ 1540934 w 7831667"/>
              <a:gd name="connsiteY31" fmla="*/ 1377956 h 1547290"/>
              <a:gd name="connsiteX32" fmla="*/ 1574800 w 7831667"/>
              <a:gd name="connsiteY32" fmla="*/ 1361023 h 1547290"/>
              <a:gd name="connsiteX33" fmla="*/ 1600200 w 7831667"/>
              <a:gd name="connsiteY33" fmla="*/ 1352556 h 1547290"/>
              <a:gd name="connsiteX34" fmla="*/ 1625600 w 7831667"/>
              <a:gd name="connsiteY34" fmla="*/ 1327156 h 1547290"/>
              <a:gd name="connsiteX35" fmla="*/ 1642534 w 7831667"/>
              <a:gd name="connsiteY35" fmla="*/ 1301756 h 1547290"/>
              <a:gd name="connsiteX36" fmla="*/ 1667934 w 7831667"/>
              <a:gd name="connsiteY36" fmla="*/ 1267890 h 1547290"/>
              <a:gd name="connsiteX37" fmla="*/ 1684867 w 7831667"/>
              <a:gd name="connsiteY37" fmla="*/ 1242490 h 1547290"/>
              <a:gd name="connsiteX38" fmla="*/ 1718734 w 7831667"/>
              <a:gd name="connsiteY38" fmla="*/ 1217090 h 1547290"/>
              <a:gd name="connsiteX39" fmla="*/ 1769534 w 7831667"/>
              <a:gd name="connsiteY39" fmla="*/ 1166290 h 1547290"/>
              <a:gd name="connsiteX40" fmla="*/ 1811867 w 7831667"/>
              <a:gd name="connsiteY40" fmla="*/ 1140890 h 1547290"/>
              <a:gd name="connsiteX41" fmla="*/ 1845734 w 7831667"/>
              <a:gd name="connsiteY41" fmla="*/ 1115490 h 1547290"/>
              <a:gd name="connsiteX42" fmla="*/ 1879600 w 7831667"/>
              <a:gd name="connsiteY42" fmla="*/ 1098556 h 1547290"/>
              <a:gd name="connsiteX43" fmla="*/ 1896534 w 7831667"/>
              <a:gd name="connsiteY43" fmla="*/ 1073156 h 1547290"/>
              <a:gd name="connsiteX44" fmla="*/ 1947334 w 7831667"/>
              <a:gd name="connsiteY44" fmla="*/ 1022356 h 1547290"/>
              <a:gd name="connsiteX45" fmla="*/ 1972734 w 7831667"/>
              <a:gd name="connsiteY45" fmla="*/ 1005423 h 1547290"/>
              <a:gd name="connsiteX46" fmla="*/ 1998134 w 7831667"/>
              <a:gd name="connsiteY46" fmla="*/ 980023 h 1547290"/>
              <a:gd name="connsiteX47" fmla="*/ 2057400 w 7831667"/>
              <a:gd name="connsiteY47" fmla="*/ 937690 h 1547290"/>
              <a:gd name="connsiteX48" fmla="*/ 2125134 w 7831667"/>
              <a:gd name="connsiteY48" fmla="*/ 912290 h 1547290"/>
              <a:gd name="connsiteX49" fmla="*/ 2159000 w 7831667"/>
              <a:gd name="connsiteY49" fmla="*/ 886890 h 1547290"/>
              <a:gd name="connsiteX50" fmla="*/ 2209800 w 7831667"/>
              <a:gd name="connsiteY50" fmla="*/ 869956 h 1547290"/>
              <a:gd name="connsiteX51" fmla="*/ 2243667 w 7831667"/>
              <a:gd name="connsiteY51" fmla="*/ 853023 h 1547290"/>
              <a:gd name="connsiteX52" fmla="*/ 2336800 w 7831667"/>
              <a:gd name="connsiteY52" fmla="*/ 861490 h 1547290"/>
              <a:gd name="connsiteX53" fmla="*/ 2353734 w 7831667"/>
              <a:gd name="connsiteY53" fmla="*/ 878423 h 1547290"/>
              <a:gd name="connsiteX54" fmla="*/ 2404534 w 7831667"/>
              <a:gd name="connsiteY54" fmla="*/ 895356 h 1547290"/>
              <a:gd name="connsiteX55" fmla="*/ 2540000 w 7831667"/>
              <a:gd name="connsiteY55" fmla="*/ 886890 h 1547290"/>
              <a:gd name="connsiteX56" fmla="*/ 2582334 w 7831667"/>
              <a:gd name="connsiteY56" fmla="*/ 878423 h 1547290"/>
              <a:gd name="connsiteX57" fmla="*/ 2616200 w 7831667"/>
              <a:gd name="connsiteY57" fmla="*/ 886890 h 1547290"/>
              <a:gd name="connsiteX58" fmla="*/ 2658534 w 7831667"/>
              <a:gd name="connsiteY58" fmla="*/ 903823 h 1547290"/>
              <a:gd name="connsiteX59" fmla="*/ 2683934 w 7831667"/>
              <a:gd name="connsiteY59" fmla="*/ 912290 h 1547290"/>
              <a:gd name="connsiteX60" fmla="*/ 2734734 w 7831667"/>
              <a:gd name="connsiteY60" fmla="*/ 937690 h 1547290"/>
              <a:gd name="connsiteX61" fmla="*/ 2751667 w 7831667"/>
              <a:gd name="connsiteY61" fmla="*/ 963090 h 1547290"/>
              <a:gd name="connsiteX62" fmla="*/ 2827867 w 7831667"/>
              <a:gd name="connsiteY62" fmla="*/ 988490 h 1547290"/>
              <a:gd name="connsiteX63" fmla="*/ 2853267 w 7831667"/>
              <a:gd name="connsiteY63" fmla="*/ 996956 h 1547290"/>
              <a:gd name="connsiteX64" fmla="*/ 2921000 w 7831667"/>
              <a:gd name="connsiteY64" fmla="*/ 1005423 h 1547290"/>
              <a:gd name="connsiteX65" fmla="*/ 2980267 w 7831667"/>
              <a:gd name="connsiteY65" fmla="*/ 1013890 h 1547290"/>
              <a:gd name="connsiteX66" fmla="*/ 3073400 w 7831667"/>
              <a:gd name="connsiteY66" fmla="*/ 1047756 h 1547290"/>
              <a:gd name="connsiteX67" fmla="*/ 3104849 w 7831667"/>
              <a:gd name="connsiteY67" fmla="*/ 1108233 h 1547290"/>
              <a:gd name="connsiteX68" fmla="*/ 3158068 w 7831667"/>
              <a:gd name="connsiteY68" fmla="*/ 1115490 h 1547290"/>
              <a:gd name="connsiteX69" fmla="*/ 3293534 w 7831667"/>
              <a:gd name="connsiteY69" fmla="*/ 1132423 h 1547290"/>
              <a:gd name="connsiteX70" fmla="*/ 3335867 w 7831667"/>
              <a:gd name="connsiteY70" fmla="*/ 1149356 h 1547290"/>
              <a:gd name="connsiteX71" fmla="*/ 3437467 w 7831667"/>
              <a:gd name="connsiteY71" fmla="*/ 1157823 h 1547290"/>
              <a:gd name="connsiteX72" fmla="*/ 3505200 w 7831667"/>
              <a:gd name="connsiteY72" fmla="*/ 1166290 h 1547290"/>
              <a:gd name="connsiteX73" fmla="*/ 3547534 w 7831667"/>
              <a:gd name="connsiteY73" fmla="*/ 1174756 h 1547290"/>
              <a:gd name="connsiteX74" fmla="*/ 3598334 w 7831667"/>
              <a:gd name="connsiteY74" fmla="*/ 1183223 h 1547290"/>
              <a:gd name="connsiteX75" fmla="*/ 3640667 w 7831667"/>
              <a:gd name="connsiteY75" fmla="*/ 1208623 h 1547290"/>
              <a:gd name="connsiteX76" fmla="*/ 3666067 w 7831667"/>
              <a:gd name="connsiteY76" fmla="*/ 1217090 h 1547290"/>
              <a:gd name="connsiteX77" fmla="*/ 3750734 w 7831667"/>
              <a:gd name="connsiteY77" fmla="*/ 1234023 h 1547290"/>
              <a:gd name="connsiteX78" fmla="*/ 3801534 w 7831667"/>
              <a:gd name="connsiteY78" fmla="*/ 1250956 h 1547290"/>
              <a:gd name="connsiteX79" fmla="*/ 4038600 w 7831667"/>
              <a:gd name="connsiteY79" fmla="*/ 1267890 h 1547290"/>
              <a:gd name="connsiteX80" fmla="*/ 4080934 w 7831667"/>
              <a:gd name="connsiteY80" fmla="*/ 1276356 h 1547290"/>
              <a:gd name="connsiteX81" fmla="*/ 4114800 w 7831667"/>
              <a:gd name="connsiteY81" fmla="*/ 1284823 h 1547290"/>
              <a:gd name="connsiteX82" fmla="*/ 4334934 w 7831667"/>
              <a:gd name="connsiteY82" fmla="*/ 1276356 h 1547290"/>
              <a:gd name="connsiteX83" fmla="*/ 4385734 w 7831667"/>
              <a:gd name="connsiteY83" fmla="*/ 1267890 h 1547290"/>
              <a:gd name="connsiteX84" fmla="*/ 4453467 w 7831667"/>
              <a:gd name="connsiteY84" fmla="*/ 1259423 h 1547290"/>
              <a:gd name="connsiteX85" fmla="*/ 4478867 w 7831667"/>
              <a:gd name="connsiteY85" fmla="*/ 1242490 h 1547290"/>
              <a:gd name="connsiteX86" fmla="*/ 4499429 w 7831667"/>
              <a:gd name="connsiteY86" fmla="*/ 1174152 h 1547290"/>
              <a:gd name="connsiteX87" fmla="*/ 4724400 w 7831667"/>
              <a:gd name="connsiteY87" fmla="*/ 1077995 h 1547290"/>
              <a:gd name="connsiteX88" fmla="*/ 4989891 w 7831667"/>
              <a:gd name="connsiteY88" fmla="*/ 878423 h 1547290"/>
              <a:gd name="connsiteX89" fmla="*/ 5046134 w 7831667"/>
              <a:gd name="connsiteY89" fmla="*/ 886890 h 1547290"/>
              <a:gd name="connsiteX90" fmla="*/ 5096934 w 7831667"/>
              <a:gd name="connsiteY90" fmla="*/ 819156 h 1547290"/>
              <a:gd name="connsiteX91" fmla="*/ 5122334 w 7831667"/>
              <a:gd name="connsiteY91" fmla="*/ 776823 h 1547290"/>
              <a:gd name="connsiteX92" fmla="*/ 5173134 w 7831667"/>
              <a:gd name="connsiteY92" fmla="*/ 726023 h 1547290"/>
              <a:gd name="connsiteX93" fmla="*/ 5207000 w 7831667"/>
              <a:gd name="connsiteY93" fmla="*/ 666756 h 1547290"/>
              <a:gd name="connsiteX94" fmla="*/ 5266267 w 7831667"/>
              <a:gd name="connsiteY94" fmla="*/ 565156 h 1547290"/>
              <a:gd name="connsiteX95" fmla="*/ 5520267 w 7831667"/>
              <a:gd name="connsiteY95" fmla="*/ 218023 h 1547290"/>
              <a:gd name="connsiteX96" fmla="*/ 5617634 w 7831667"/>
              <a:gd name="connsiteY96" fmla="*/ 78323 h 1547290"/>
              <a:gd name="connsiteX97" fmla="*/ 5670248 w 7831667"/>
              <a:gd name="connsiteY97" fmla="*/ 52923 h 1547290"/>
              <a:gd name="connsiteX98" fmla="*/ 5833534 w 7831667"/>
              <a:gd name="connsiteY98" fmla="*/ 6356 h 1547290"/>
              <a:gd name="connsiteX99" fmla="*/ 5952067 w 7831667"/>
              <a:gd name="connsiteY99" fmla="*/ 14823 h 1547290"/>
              <a:gd name="connsiteX100" fmla="*/ 6082091 w 7831667"/>
              <a:gd name="connsiteY100" fmla="*/ 137590 h 1547290"/>
              <a:gd name="connsiteX101" fmla="*/ 6544734 w 7831667"/>
              <a:gd name="connsiteY101" fmla="*/ 483513 h 1547290"/>
              <a:gd name="connsiteX102" fmla="*/ 6869491 w 7831667"/>
              <a:gd name="connsiteY102" fmla="*/ 705461 h 1547290"/>
              <a:gd name="connsiteX103" fmla="*/ 6993467 w 7831667"/>
              <a:gd name="connsiteY103" fmla="*/ 597209 h 1547290"/>
              <a:gd name="connsiteX104" fmla="*/ 7103534 w 7831667"/>
              <a:gd name="connsiteY104" fmla="*/ 531290 h 1547290"/>
              <a:gd name="connsiteX105" fmla="*/ 7190015 w 7831667"/>
              <a:gd name="connsiteY105" fmla="*/ 559713 h 1547290"/>
              <a:gd name="connsiteX106" fmla="*/ 7335763 w 7831667"/>
              <a:gd name="connsiteY106" fmla="*/ 487747 h 1547290"/>
              <a:gd name="connsiteX107" fmla="*/ 7476067 w 7831667"/>
              <a:gd name="connsiteY107" fmla="*/ 480490 h 1547290"/>
              <a:gd name="connsiteX108" fmla="*/ 7526867 w 7831667"/>
              <a:gd name="connsiteY108" fmla="*/ 565156 h 1547290"/>
              <a:gd name="connsiteX109" fmla="*/ 7577667 w 7831667"/>
              <a:gd name="connsiteY109" fmla="*/ 709090 h 1547290"/>
              <a:gd name="connsiteX110" fmla="*/ 7586134 w 7831667"/>
              <a:gd name="connsiteY110" fmla="*/ 751423 h 1547290"/>
              <a:gd name="connsiteX111" fmla="*/ 7628467 w 7831667"/>
              <a:gd name="connsiteY111" fmla="*/ 785290 h 1547290"/>
              <a:gd name="connsiteX112" fmla="*/ 7662334 w 7831667"/>
              <a:gd name="connsiteY112" fmla="*/ 802223 h 1547290"/>
              <a:gd name="connsiteX113" fmla="*/ 7696200 w 7831667"/>
              <a:gd name="connsiteY113" fmla="*/ 827623 h 1547290"/>
              <a:gd name="connsiteX114" fmla="*/ 7730067 w 7831667"/>
              <a:gd name="connsiteY114" fmla="*/ 836090 h 1547290"/>
              <a:gd name="connsiteX115" fmla="*/ 7763934 w 7831667"/>
              <a:gd name="connsiteY115" fmla="*/ 853023 h 1547290"/>
              <a:gd name="connsiteX116" fmla="*/ 7814734 w 7831667"/>
              <a:gd name="connsiteY116" fmla="*/ 903823 h 1547290"/>
              <a:gd name="connsiteX117" fmla="*/ 7831667 w 7831667"/>
              <a:gd name="connsiteY117" fmla="*/ 929223 h 1547290"/>
              <a:gd name="connsiteX0" fmla="*/ 0 w 7831667"/>
              <a:gd name="connsiteY0" fmla="*/ 1132423 h 1547290"/>
              <a:gd name="connsiteX1" fmla="*/ 8467 w 7831667"/>
              <a:gd name="connsiteY1" fmla="*/ 1174756 h 1547290"/>
              <a:gd name="connsiteX2" fmla="*/ 33867 w 7831667"/>
              <a:gd name="connsiteY2" fmla="*/ 1183223 h 1547290"/>
              <a:gd name="connsiteX3" fmla="*/ 67734 w 7831667"/>
              <a:gd name="connsiteY3" fmla="*/ 1200156 h 1547290"/>
              <a:gd name="connsiteX4" fmla="*/ 84667 w 7831667"/>
              <a:gd name="connsiteY4" fmla="*/ 1217090 h 1547290"/>
              <a:gd name="connsiteX5" fmla="*/ 135467 w 7831667"/>
              <a:gd name="connsiteY5" fmla="*/ 1242490 h 1547290"/>
              <a:gd name="connsiteX6" fmla="*/ 160867 w 7831667"/>
              <a:gd name="connsiteY6" fmla="*/ 1267890 h 1547290"/>
              <a:gd name="connsiteX7" fmla="*/ 194734 w 7831667"/>
              <a:gd name="connsiteY7" fmla="*/ 1284823 h 1547290"/>
              <a:gd name="connsiteX8" fmla="*/ 237067 w 7831667"/>
              <a:gd name="connsiteY8" fmla="*/ 1310223 h 1547290"/>
              <a:gd name="connsiteX9" fmla="*/ 262467 w 7831667"/>
              <a:gd name="connsiteY9" fmla="*/ 1327156 h 1547290"/>
              <a:gd name="connsiteX10" fmla="*/ 313267 w 7831667"/>
              <a:gd name="connsiteY10" fmla="*/ 1344090 h 1547290"/>
              <a:gd name="connsiteX11" fmla="*/ 372534 w 7831667"/>
              <a:gd name="connsiteY11" fmla="*/ 1386423 h 1547290"/>
              <a:gd name="connsiteX12" fmla="*/ 423334 w 7831667"/>
              <a:gd name="connsiteY12" fmla="*/ 1403356 h 1547290"/>
              <a:gd name="connsiteX13" fmla="*/ 448734 w 7831667"/>
              <a:gd name="connsiteY13" fmla="*/ 1411823 h 1547290"/>
              <a:gd name="connsiteX14" fmla="*/ 533400 w 7831667"/>
              <a:gd name="connsiteY14" fmla="*/ 1471090 h 1547290"/>
              <a:gd name="connsiteX15" fmla="*/ 567267 w 7831667"/>
              <a:gd name="connsiteY15" fmla="*/ 1479556 h 1547290"/>
              <a:gd name="connsiteX16" fmla="*/ 592667 w 7831667"/>
              <a:gd name="connsiteY16" fmla="*/ 1488023 h 1547290"/>
              <a:gd name="connsiteX17" fmla="*/ 677334 w 7831667"/>
              <a:gd name="connsiteY17" fmla="*/ 1504956 h 1547290"/>
              <a:gd name="connsiteX18" fmla="*/ 736600 w 7831667"/>
              <a:gd name="connsiteY18" fmla="*/ 1521890 h 1547290"/>
              <a:gd name="connsiteX19" fmla="*/ 778934 w 7831667"/>
              <a:gd name="connsiteY19" fmla="*/ 1530356 h 1547290"/>
              <a:gd name="connsiteX20" fmla="*/ 855134 w 7831667"/>
              <a:gd name="connsiteY20" fmla="*/ 1547290 h 1547290"/>
              <a:gd name="connsiteX21" fmla="*/ 1075267 w 7831667"/>
              <a:gd name="connsiteY21" fmla="*/ 1538823 h 1547290"/>
              <a:gd name="connsiteX22" fmla="*/ 1134534 w 7831667"/>
              <a:gd name="connsiteY22" fmla="*/ 1521890 h 1547290"/>
              <a:gd name="connsiteX23" fmla="*/ 1210734 w 7831667"/>
              <a:gd name="connsiteY23" fmla="*/ 1504956 h 1547290"/>
              <a:gd name="connsiteX24" fmla="*/ 1244600 w 7831667"/>
              <a:gd name="connsiteY24" fmla="*/ 1488023 h 1547290"/>
              <a:gd name="connsiteX25" fmla="*/ 1278467 w 7831667"/>
              <a:gd name="connsiteY25" fmla="*/ 1479556 h 1547290"/>
              <a:gd name="connsiteX26" fmla="*/ 1303867 w 7831667"/>
              <a:gd name="connsiteY26" fmla="*/ 1462623 h 1547290"/>
              <a:gd name="connsiteX27" fmla="*/ 1337734 w 7831667"/>
              <a:gd name="connsiteY27" fmla="*/ 1454156 h 1547290"/>
              <a:gd name="connsiteX28" fmla="*/ 1380067 w 7831667"/>
              <a:gd name="connsiteY28" fmla="*/ 1437223 h 1547290"/>
              <a:gd name="connsiteX29" fmla="*/ 1413934 w 7831667"/>
              <a:gd name="connsiteY29" fmla="*/ 1428756 h 1547290"/>
              <a:gd name="connsiteX30" fmla="*/ 1481667 w 7831667"/>
              <a:gd name="connsiteY30" fmla="*/ 1403356 h 1547290"/>
              <a:gd name="connsiteX31" fmla="*/ 1540934 w 7831667"/>
              <a:gd name="connsiteY31" fmla="*/ 1377956 h 1547290"/>
              <a:gd name="connsiteX32" fmla="*/ 1574800 w 7831667"/>
              <a:gd name="connsiteY32" fmla="*/ 1361023 h 1547290"/>
              <a:gd name="connsiteX33" fmla="*/ 1600200 w 7831667"/>
              <a:gd name="connsiteY33" fmla="*/ 1352556 h 1547290"/>
              <a:gd name="connsiteX34" fmla="*/ 1625600 w 7831667"/>
              <a:gd name="connsiteY34" fmla="*/ 1327156 h 1547290"/>
              <a:gd name="connsiteX35" fmla="*/ 1642534 w 7831667"/>
              <a:gd name="connsiteY35" fmla="*/ 1301756 h 1547290"/>
              <a:gd name="connsiteX36" fmla="*/ 1667934 w 7831667"/>
              <a:gd name="connsiteY36" fmla="*/ 1267890 h 1547290"/>
              <a:gd name="connsiteX37" fmla="*/ 1684867 w 7831667"/>
              <a:gd name="connsiteY37" fmla="*/ 1242490 h 1547290"/>
              <a:gd name="connsiteX38" fmla="*/ 1718734 w 7831667"/>
              <a:gd name="connsiteY38" fmla="*/ 1217090 h 1547290"/>
              <a:gd name="connsiteX39" fmla="*/ 1769534 w 7831667"/>
              <a:gd name="connsiteY39" fmla="*/ 1166290 h 1547290"/>
              <a:gd name="connsiteX40" fmla="*/ 1811867 w 7831667"/>
              <a:gd name="connsiteY40" fmla="*/ 1140890 h 1547290"/>
              <a:gd name="connsiteX41" fmla="*/ 1845734 w 7831667"/>
              <a:gd name="connsiteY41" fmla="*/ 1115490 h 1547290"/>
              <a:gd name="connsiteX42" fmla="*/ 1879600 w 7831667"/>
              <a:gd name="connsiteY42" fmla="*/ 1098556 h 1547290"/>
              <a:gd name="connsiteX43" fmla="*/ 1896534 w 7831667"/>
              <a:gd name="connsiteY43" fmla="*/ 1073156 h 1547290"/>
              <a:gd name="connsiteX44" fmla="*/ 1947334 w 7831667"/>
              <a:gd name="connsiteY44" fmla="*/ 1022356 h 1547290"/>
              <a:gd name="connsiteX45" fmla="*/ 1972734 w 7831667"/>
              <a:gd name="connsiteY45" fmla="*/ 1005423 h 1547290"/>
              <a:gd name="connsiteX46" fmla="*/ 1998134 w 7831667"/>
              <a:gd name="connsiteY46" fmla="*/ 980023 h 1547290"/>
              <a:gd name="connsiteX47" fmla="*/ 2057400 w 7831667"/>
              <a:gd name="connsiteY47" fmla="*/ 937690 h 1547290"/>
              <a:gd name="connsiteX48" fmla="*/ 2125134 w 7831667"/>
              <a:gd name="connsiteY48" fmla="*/ 912290 h 1547290"/>
              <a:gd name="connsiteX49" fmla="*/ 2159000 w 7831667"/>
              <a:gd name="connsiteY49" fmla="*/ 886890 h 1547290"/>
              <a:gd name="connsiteX50" fmla="*/ 2209800 w 7831667"/>
              <a:gd name="connsiteY50" fmla="*/ 869956 h 1547290"/>
              <a:gd name="connsiteX51" fmla="*/ 2243667 w 7831667"/>
              <a:gd name="connsiteY51" fmla="*/ 853023 h 1547290"/>
              <a:gd name="connsiteX52" fmla="*/ 2336800 w 7831667"/>
              <a:gd name="connsiteY52" fmla="*/ 861490 h 1547290"/>
              <a:gd name="connsiteX53" fmla="*/ 2353734 w 7831667"/>
              <a:gd name="connsiteY53" fmla="*/ 878423 h 1547290"/>
              <a:gd name="connsiteX54" fmla="*/ 2404534 w 7831667"/>
              <a:gd name="connsiteY54" fmla="*/ 895356 h 1547290"/>
              <a:gd name="connsiteX55" fmla="*/ 2540000 w 7831667"/>
              <a:gd name="connsiteY55" fmla="*/ 886890 h 1547290"/>
              <a:gd name="connsiteX56" fmla="*/ 2582334 w 7831667"/>
              <a:gd name="connsiteY56" fmla="*/ 878423 h 1547290"/>
              <a:gd name="connsiteX57" fmla="*/ 2616200 w 7831667"/>
              <a:gd name="connsiteY57" fmla="*/ 886890 h 1547290"/>
              <a:gd name="connsiteX58" fmla="*/ 2658534 w 7831667"/>
              <a:gd name="connsiteY58" fmla="*/ 903823 h 1547290"/>
              <a:gd name="connsiteX59" fmla="*/ 2683934 w 7831667"/>
              <a:gd name="connsiteY59" fmla="*/ 912290 h 1547290"/>
              <a:gd name="connsiteX60" fmla="*/ 2734734 w 7831667"/>
              <a:gd name="connsiteY60" fmla="*/ 937690 h 1547290"/>
              <a:gd name="connsiteX61" fmla="*/ 2751667 w 7831667"/>
              <a:gd name="connsiteY61" fmla="*/ 963090 h 1547290"/>
              <a:gd name="connsiteX62" fmla="*/ 2827867 w 7831667"/>
              <a:gd name="connsiteY62" fmla="*/ 988490 h 1547290"/>
              <a:gd name="connsiteX63" fmla="*/ 2853267 w 7831667"/>
              <a:gd name="connsiteY63" fmla="*/ 996956 h 1547290"/>
              <a:gd name="connsiteX64" fmla="*/ 2921000 w 7831667"/>
              <a:gd name="connsiteY64" fmla="*/ 1005423 h 1547290"/>
              <a:gd name="connsiteX65" fmla="*/ 2980267 w 7831667"/>
              <a:gd name="connsiteY65" fmla="*/ 1013890 h 1547290"/>
              <a:gd name="connsiteX66" fmla="*/ 3073400 w 7831667"/>
              <a:gd name="connsiteY66" fmla="*/ 1047756 h 1547290"/>
              <a:gd name="connsiteX67" fmla="*/ 3104849 w 7831667"/>
              <a:gd name="connsiteY67" fmla="*/ 1108233 h 1547290"/>
              <a:gd name="connsiteX68" fmla="*/ 3158068 w 7831667"/>
              <a:gd name="connsiteY68" fmla="*/ 1115490 h 1547290"/>
              <a:gd name="connsiteX69" fmla="*/ 3293534 w 7831667"/>
              <a:gd name="connsiteY69" fmla="*/ 1132423 h 1547290"/>
              <a:gd name="connsiteX70" fmla="*/ 3335867 w 7831667"/>
              <a:gd name="connsiteY70" fmla="*/ 1149356 h 1547290"/>
              <a:gd name="connsiteX71" fmla="*/ 3437467 w 7831667"/>
              <a:gd name="connsiteY71" fmla="*/ 1157823 h 1547290"/>
              <a:gd name="connsiteX72" fmla="*/ 3505200 w 7831667"/>
              <a:gd name="connsiteY72" fmla="*/ 1166290 h 1547290"/>
              <a:gd name="connsiteX73" fmla="*/ 3547534 w 7831667"/>
              <a:gd name="connsiteY73" fmla="*/ 1174756 h 1547290"/>
              <a:gd name="connsiteX74" fmla="*/ 3598334 w 7831667"/>
              <a:gd name="connsiteY74" fmla="*/ 1183223 h 1547290"/>
              <a:gd name="connsiteX75" fmla="*/ 3640667 w 7831667"/>
              <a:gd name="connsiteY75" fmla="*/ 1208623 h 1547290"/>
              <a:gd name="connsiteX76" fmla="*/ 3666067 w 7831667"/>
              <a:gd name="connsiteY76" fmla="*/ 1217090 h 1547290"/>
              <a:gd name="connsiteX77" fmla="*/ 3750734 w 7831667"/>
              <a:gd name="connsiteY77" fmla="*/ 1234023 h 1547290"/>
              <a:gd name="connsiteX78" fmla="*/ 3801534 w 7831667"/>
              <a:gd name="connsiteY78" fmla="*/ 1250956 h 1547290"/>
              <a:gd name="connsiteX79" fmla="*/ 4038600 w 7831667"/>
              <a:gd name="connsiteY79" fmla="*/ 1267890 h 1547290"/>
              <a:gd name="connsiteX80" fmla="*/ 4080934 w 7831667"/>
              <a:gd name="connsiteY80" fmla="*/ 1276356 h 1547290"/>
              <a:gd name="connsiteX81" fmla="*/ 4114800 w 7831667"/>
              <a:gd name="connsiteY81" fmla="*/ 1284823 h 1547290"/>
              <a:gd name="connsiteX82" fmla="*/ 4334934 w 7831667"/>
              <a:gd name="connsiteY82" fmla="*/ 1276356 h 1547290"/>
              <a:gd name="connsiteX83" fmla="*/ 4385734 w 7831667"/>
              <a:gd name="connsiteY83" fmla="*/ 1267890 h 1547290"/>
              <a:gd name="connsiteX84" fmla="*/ 4453467 w 7831667"/>
              <a:gd name="connsiteY84" fmla="*/ 1259423 h 1547290"/>
              <a:gd name="connsiteX85" fmla="*/ 4478867 w 7831667"/>
              <a:gd name="connsiteY85" fmla="*/ 1242490 h 1547290"/>
              <a:gd name="connsiteX86" fmla="*/ 4499429 w 7831667"/>
              <a:gd name="connsiteY86" fmla="*/ 1174152 h 1547290"/>
              <a:gd name="connsiteX87" fmla="*/ 4724400 w 7831667"/>
              <a:gd name="connsiteY87" fmla="*/ 1077995 h 1547290"/>
              <a:gd name="connsiteX88" fmla="*/ 4989891 w 7831667"/>
              <a:gd name="connsiteY88" fmla="*/ 878423 h 1547290"/>
              <a:gd name="connsiteX89" fmla="*/ 5046134 w 7831667"/>
              <a:gd name="connsiteY89" fmla="*/ 886890 h 1547290"/>
              <a:gd name="connsiteX90" fmla="*/ 5096934 w 7831667"/>
              <a:gd name="connsiteY90" fmla="*/ 819156 h 1547290"/>
              <a:gd name="connsiteX91" fmla="*/ 5122334 w 7831667"/>
              <a:gd name="connsiteY91" fmla="*/ 776823 h 1547290"/>
              <a:gd name="connsiteX92" fmla="*/ 5173134 w 7831667"/>
              <a:gd name="connsiteY92" fmla="*/ 726023 h 1547290"/>
              <a:gd name="connsiteX93" fmla="*/ 5207000 w 7831667"/>
              <a:gd name="connsiteY93" fmla="*/ 666756 h 1547290"/>
              <a:gd name="connsiteX94" fmla="*/ 5266267 w 7831667"/>
              <a:gd name="connsiteY94" fmla="*/ 565156 h 1547290"/>
              <a:gd name="connsiteX95" fmla="*/ 5520267 w 7831667"/>
              <a:gd name="connsiteY95" fmla="*/ 218023 h 1547290"/>
              <a:gd name="connsiteX96" fmla="*/ 5617634 w 7831667"/>
              <a:gd name="connsiteY96" fmla="*/ 78323 h 1547290"/>
              <a:gd name="connsiteX97" fmla="*/ 5670248 w 7831667"/>
              <a:gd name="connsiteY97" fmla="*/ 52923 h 1547290"/>
              <a:gd name="connsiteX98" fmla="*/ 5833534 w 7831667"/>
              <a:gd name="connsiteY98" fmla="*/ 6356 h 1547290"/>
              <a:gd name="connsiteX99" fmla="*/ 5952067 w 7831667"/>
              <a:gd name="connsiteY99" fmla="*/ 14823 h 1547290"/>
              <a:gd name="connsiteX100" fmla="*/ 6082091 w 7831667"/>
              <a:gd name="connsiteY100" fmla="*/ 137590 h 1547290"/>
              <a:gd name="connsiteX101" fmla="*/ 6544734 w 7831667"/>
              <a:gd name="connsiteY101" fmla="*/ 483513 h 1547290"/>
              <a:gd name="connsiteX102" fmla="*/ 6869491 w 7831667"/>
              <a:gd name="connsiteY102" fmla="*/ 705461 h 1547290"/>
              <a:gd name="connsiteX103" fmla="*/ 6993467 w 7831667"/>
              <a:gd name="connsiteY103" fmla="*/ 597209 h 1547290"/>
              <a:gd name="connsiteX104" fmla="*/ 7103534 w 7831667"/>
              <a:gd name="connsiteY104" fmla="*/ 531290 h 1547290"/>
              <a:gd name="connsiteX105" fmla="*/ 7190015 w 7831667"/>
              <a:gd name="connsiteY105" fmla="*/ 559713 h 1547290"/>
              <a:gd name="connsiteX106" fmla="*/ 7335763 w 7831667"/>
              <a:gd name="connsiteY106" fmla="*/ 487747 h 1547290"/>
              <a:gd name="connsiteX107" fmla="*/ 7526867 w 7831667"/>
              <a:gd name="connsiteY107" fmla="*/ 565156 h 1547290"/>
              <a:gd name="connsiteX108" fmla="*/ 7577667 w 7831667"/>
              <a:gd name="connsiteY108" fmla="*/ 709090 h 1547290"/>
              <a:gd name="connsiteX109" fmla="*/ 7586134 w 7831667"/>
              <a:gd name="connsiteY109" fmla="*/ 751423 h 1547290"/>
              <a:gd name="connsiteX110" fmla="*/ 7628467 w 7831667"/>
              <a:gd name="connsiteY110" fmla="*/ 785290 h 1547290"/>
              <a:gd name="connsiteX111" fmla="*/ 7662334 w 7831667"/>
              <a:gd name="connsiteY111" fmla="*/ 802223 h 1547290"/>
              <a:gd name="connsiteX112" fmla="*/ 7696200 w 7831667"/>
              <a:gd name="connsiteY112" fmla="*/ 827623 h 1547290"/>
              <a:gd name="connsiteX113" fmla="*/ 7730067 w 7831667"/>
              <a:gd name="connsiteY113" fmla="*/ 836090 h 1547290"/>
              <a:gd name="connsiteX114" fmla="*/ 7763934 w 7831667"/>
              <a:gd name="connsiteY114" fmla="*/ 853023 h 1547290"/>
              <a:gd name="connsiteX115" fmla="*/ 7814734 w 7831667"/>
              <a:gd name="connsiteY115" fmla="*/ 903823 h 1547290"/>
              <a:gd name="connsiteX116" fmla="*/ 7831667 w 7831667"/>
              <a:gd name="connsiteY116" fmla="*/ 929223 h 1547290"/>
              <a:gd name="connsiteX0" fmla="*/ 0 w 7831667"/>
              <a:gd name="connsiteY0" fmla="*/ 1132423 h 1547290"/>
              <a:gd name="connsiteX1" fmla="*/ 8467 w 7831667"/>
              <a:gd name="connsiteY1" fmla="*/ 1174756 h 1547290"/>
              <a:gd name="connsiteX2" fmla="*/ 33867 w 7831667"/>
              <a:gd name="connsiteY2" fmla="*/ 1183223 h 1547290"/>
              <a:gd name="connsiteX3" fmla="*/ 67734 w 7831667"/>
              <a:gd name="connsiteY3" fmla="*/ 1200156 h 1547290"/>
              <a:gd name="connsiteX4" fmla="*/ 84667 w 7831667"/>
              <a:gd name="connsiteY4" fmla="*/ 1217090 h 1547290"/>
              <a:gd name="connsiteX5" fmla="*/ 135467 w 7831667"/>
              <a:gd name="connsiteY5" fmla="*/ 1242490 h 1547290"/>
              <a:gd name="connsiteX6" fmla="*/ 160867 w 7831667"/>
              <a:gd name="connsiteY6" fmla="*/ 1267890 h 1547290"/>
              <a:gd name="connsiteX7" fmla="*/ 194734 w 7831667"/>
              <a:gd name="connsiteY7" fmla="*/ 1284823 h 1547290"/>
              <a:gd name="connsiteX8" fmla="*/ 237067 w 7831667"/>
              <a:gd name="connsiteY8" fmla="*/ 1310223 h 1547290"/>
              <a:gd name="connsiteX9" fmla="*/ 262467 w 7831667"/>
              <a:gd name="connsiteY9" fmla="*/ 1327156 h 1547290"/>
              <a:gd name="connsiteX10" fmla="*/ 313267 w 7831667"/>
              <a:gd name="connsiteY10" fmla="*/ 1344090 h 1547290"/>
              <a:gd name="connsiteX11" fmla="*/ 372534 w 7831667"/>
              <a:gd name="connsiteY11" fmla="*/ 1386423 h 1547290"/>
              <a:gd name="connsiteX12" fmla="*/ 423334 w 7831667"/>
              <a:gd name="connsiteY12" fmla="*/ 1403356 h 1547290"/>
              <a:gd name="connsiteX13" fmla="*/ 448734 w 7831667"/>
              <a:gd name="connsiteY13" fmla="*/ 1411823 h 1547290"/>
              <a:gd name="connsiteX14" fmla="*/ 533400 w 7831667"/>
              <a:gd name="connsiteY14" fmla="*/ 1471090 h 1547290"/>
              <a:gd name="connsiteX15" fmla="*/ 567267 w 7831667"/>
              <a:gd name="connsiteY15" fmla="*/ 1479556 h 1547290"/>
              <a:gd name="connsiteX16" fmla="*/ 592667 w 7831667"/>
              <a:gd name="connsiteY16" fmla="*/ 1488023 h 1547290"/>
              <a:gd name="connsiteX17" fmla="*/ 677334 w 7831667"/>
              <a:gd name="connsiteY17" fmla="*/ 1504956 h 1547290"/>
              <a:gd name="connsiteX18" fmla="*/ 736600 w 7831667"/>
              <a:gd name="connsiteY18" fmla="*/ 1521890 h 1547290"/>
              <a:gd name="connsiteX19" fmla="*/ 778934 w 7831667"/>
              <a:gd name="connsiteY19" fmla="*/ 1530356 h 1547290"/>
              <a:gd name="connsiteX20" fmla="*/ 855134 w 7831667"/>
              <a:gd name="connsiteY20" fmla="*/ 1547290 h 1547290"/>
              <a:gd name="connsiteX21" fmla="*/ 1075267 w 7831667"/>
              <a:gd name="connsiteY21" fmla="*/ 1538823 h 1547290"/>
              <a:gd name="connsiteX22" fmla="*/ 1134534 w 7831667"/>
              <a:gd name="connsiteY22" fmla="*/ 1521890 h 1547290"/>
              <a:gd name="connsiteX23" fmla="*/ 1210734 w 7831667"/>
              <a:gd name="connsiteY23" fmla="*/ 1504956 h 1547290"/>
              <a:gd name="connsiteX24" fmla="*/ 1244600 w 7831667"/>
              <a:gd name="connsiteY24" fmla="*/ 1488023 h 1547290"/>
              <a:gd name="connsiteX25" fmla="*/ 1278467 w 7831667"/>
              <a:gd name="connsiteY25" fmla="*/ 1479556 h 1547290"/>
              <a:gd name="connsiteX26" fmla="*/ 1303867 w 7831667"/>
              <a:gd name="connsiteY26" fmla="*/ 1462623 h 1547290"/>
              <a:gd name="connsiteX27" fmla="*/ 1337734 w 7831667"/>
              <a:gd name="connsiteY27" fmla="*/ 1454156 h 1547290"/>
              <a:gd name="connsiteX28" fmla="*/ 1380067 w 7831667"/>
              <a:gd name="connsiteY28" fmla="*/ 1437223 h 1547290"/>
              <a:gd name="connsiteX29" fmla="*/ 1413934 w 7831667"/>
              <a:gd name="connsiteY29" fmla="*/ 1428756 h 1547290"/>
              <a:gd name="connsiteX30" fmla="*/ 1481667 w 7831667"/>
              <a:gd name="connsiteY30" fmla="*/ 1403356 h 1547290"/>
              <a:gd name="connsiteX31" fmla="*/ 1540934 w 7831667"/>
              <a:gd name="connsiteY31" fmla="*/ 1377956 h 1547290"/>
              <a:gd name="connsiteX32" fmla="*/ 1574800 w 7831667"/>
              <a:gd name="connsiteY32" fmla="*/ 1361023 h 1547290"/>
              <a:gd name="connsiteX33" fmla="*/ 1600200 w 7831667"/>
              <a:gd name="connsiteY33" fmla="*/ 1352556 h 1547290"/>
              <a:gd name="connsiteX34" fmla="*/ 1625600 w 7831667"/>
              <a:gd name="connsiteY34" fmla="*/ 1327156 h 1547290"/>
              <a:gd name="connsiteX35" fmla="*/ 1642534 w 7831667"/>
              <a:gd name="connsiteY35" fmla="*/ 1301756 h 1547290"/>
              <a:gd name="connsiteX36" fmla="*/ 1667934 w 7831667"/>
              <a:gd name="connsiteY36" fmla="*/ 1267890 h 1547290"/>
              <a:gd name="connsiteX37" fmla="*/ 1684867 w 7831667"/>
              <a:gd name="connsiteY37" fmla="*/ 1242490 h 1547290"/>
              <a:gd name="connsiteX38" fmla="*/ 1718734 w 7831667"/>
              <a:gd name="connsiteY38" fmla="*/ 1217090 h 1547290"/>
              <a:gd name="connsiteX39" fmla="*/ 1769534 w 7831667"/>
              <a:gd name="connsiteY39" fmla="*/ 1166290 h 1547290"/>
              <a:gd name="connsiteX40" fmla="*/ 1811867 w 7831667"/>
              <a:gd name="connsiteY40" fmla="*/ 1140890 h 1547290"/>
              <a:gd name="connsiteX41" fmla="*/ 1845734 w 7831667"/>
              <a:gd name="connsiteY41" fmla="*/ 1115490 h 1547290"/>
              <a:gd name="connsiteX42" fmla="*/ 1879600 w 7831667"/>
              <a:gd name="connsiteY42" fmla="*/ 1098556 h 1547290"/>
              <a:gd name="connsiteX43" fmla="*/ 1896534 w 7831667"/>
              <a:gd name="connsiteY43" fmla="*/ 1073156 h 1547290"/>
              <a:gd name="connsiteX44" fmla="*/ 1947334 w 7831667"/>
              <a:gd name="connsiteY44" fmla="*/ 1022356 h 1547290"/>
              <a:gd name="connsiteX45" fmla="*/ 1972734 w 7831667"/>
              <a:gd name="connsiteY45" fmla="*/ 1005423 h 1547290"/>
              <a:gd name="connsiteX46" fmla="*/ 1998134 w 7831667"/>
              <a:gd name="connsiteY46" fmla="*/ 980023 h 1547290"/>
              <a:gd name="connsiteX47" fmla="*/ 2057400 w 7831667"/>
              <a:gd name="connsiteY47" fmla="*/ 937690 h 1547290"/>
              <a:gd name="connsiteX48" fmla="*/ 2125134 w 7831667"/>
              <a:gd name="connsiteY48" fmla="*/ 912290 h 1547290"/>
              <a:gd name="connsiteX49" fmla="*/ 2159000 w 7831667"/>
              <a:gd name="connsiteY49" fmla="*/ 886890 h 1547290"/>
              <a:gd name="connsiteX50" fmla="*/ 2209800 w 7831667"/>
              <a:gd name="connsiteY50" fmla="*/ 869956 h 1547290"/>
              <a:gd name="connsiteX51" fmla="*/ 2243667 w 7831667"/>
              <a:gd name="connsiteY51" fmla="*/ 853023 h 1547290"/>
              <a:gd name="connsiteX52" fmla="*/ 2336800 w 7831667"/>
              <a:gd name="connsiteY52" fmla="*/ 861490 h 1547290"/>
              <a:gd name="connsiteX53" fmla="*/ 2353734 w 7831667"/>
              <a:gd name="connsiteY53" fmla="*/ 878423 h 1547290"/>
              <a:gd name="connsiteX54" fmla="*/ 2404534 w 7831667"/>
              <a:gd name="connsiteY54" fmla="*/ 895356 h 1547290"/>
              <a:gd name="connsiteX55" fmla="*/ 2540000 w 7831667"/>
              <a:gd name="connsiteY55" fmla="*/ 886890 h 1547290"/>
              <a:gd name="connsiteX56" fmla="*/ 2582334 w 7831667"/>
              <a:gd name="connsiteY56" fmla="*/ 878423 h 1547290"/>
              <a:gd name="connsiteX57" fmla="*/ 2616200 w 7831667"/>
              <a:gd name="connsiteY57" fmla="*/ 886890 h 1547290"/>
              <a:gd name="connsiteX58" fmla="*/ 2658534 w 7831667"/>
              <a:gd name="connsiteY58" fmla="*/ 903823 h 1547290"/>
              <a:gd name="connsiteX59" fmla="*/ 2683934 w 7831667"/>
              <a:gd name="connsiteY59" fmla="*/ 912290 h 1547290"/>
              <a:gd name="connsiteX60" fmla="*/ 2734734 w 7831667"/>
              <a:gd name="connsiteY60" fmla="*/ 937690 h 1547290"/>
              <a:gd name="connsiteX61" fmla="*/ 2751667 w 7831667"/>
              <a:gd name="connsiteY61" fmla="*/ 963090 h 1547290"/>
              <a:gd name="connsiteX62" fmla="*/ 2827867 w 7831667"/>
              <a:gd name="connsiteY62" fmla="*/ 988490 h 1547290"/>
              <a:gd name="connsiteX63" fmla="*/ 2853267 w 7831667"/>
              <a:gd name="connsiteY63" fmla="*/ 996956 h 1547290"/>
              <a:gd name="connsiteX64" fmla="*/ 2921000 w 7831667"/>
              <a:gd name="connsiteY64" fmla="*/ 1005423 h 1547290"/>
              <a:gd name="connsiteX65" fmla="*/ 2980267 w 7831667"/>
              <a:gd name="connsiteY65" fmla="*/ 1013890 h 1547290"/>
              <a:gd name="connsiteX66" fmla="*/ 3073400 w 7831667"/>
              <a:gd name="connsiteY66" fmla="*/ 1047756 h 1547290"/>
              <a:gd name="connsiteX67" fmla="*/ 3104849 w 7831667"/>
              <a:gd name="connsiteY67" fmla="*/ 1108233 h 1547290"/>
              <a:gd name="connsiteX68" fmla="*/ 3158068 w 7831667"/>
              <a:gd name="connsiteY68" fmla="*/ 1115490 h 1547290"/>
              <a:gd name="connsiteX69" fmla="*/ 3293534 w 7831667"/>
              <a:gd name="connsiteY69" fmla="*/ 1132423 h 1547290"/>
              <a:gd name="connsiteX70" fmla="*/ 3335867 w 7831667"/>
              <a:gd name="connsiteY70" fmla="*/ 1149356 h 1547290"/>
              <a:gd name="connsiteX71" fmla="*/ 3437467 w 7831667"/>
              <a:gd name="connsiteY71" fmla="*/ 1157823 h 1547290"/>
              <a:gd name="connsiteX72" fmla="*/ 3505200 w 7831667"/>
              <a:gd name="connsiteY72" fmla="*/ 1166290 h 1547290"/>
              <a:gd name="connsiteX73" fmla="*/ 3547534 w 7831667"/>
              <a:gd name="connsiteY73" fmla="*/ 1174756 h 1547290"/>
              <a:gd name="connsiteX74" fmla="*/ 3598334 w 7831667"/>
              <a:gd name="connsiteY74" fmla="*/ 1183223 h 1547290"/>
              <a:gd name="connsiteX75" fmla="*/ 3640667 w 7831667"/>
              <a:gd name="connsiteY75" fmla="*/ 1208623 h 1547290"/>
              <a:gd name="connsiteX76" fmla="*/ 3666067 w 7831667"/>
              <a:gd name="connsiteY76" fmla="*/ 1217090 h 1547290"/>
              <a:gd name="connsiteX77" fmla="*/ 3750734 w 7831667"/>
              <a:gd name="connsiteY77" fmla="*/ 1234023 h 1547290"/>
              <a:gd name="connsiteX78" fmla="*/ 3801534 w 7831667"/>
              <a:gd name="connsiteY78" fmla="*/ 1250956 h 1547290"/>
              <a:gd name="connsiteX79" fmla="*/ 4038600 w 7831667"/>
              <a:gd name="connsiteY79" fmla="*/ 1267890 h 1547290"/>
              <a:gd name="connsiteX80" fmla="*/ 4080934 w 7831667"/>
              <a:gd name="connsiteY80" fmla="*/ 1276356 h 1547290"/>
              <a:gd name="connsiteX81" fmla="*/ 4114800 w 7831667"/>
              <a:gd name="connsiteY81" fmla="*/ 1284823 h 1547290"/>
              <a:gd name="connsiteX82" fmla="*/ 4334934 w 7831667"/>
              <a:gd name="connsiteY82" fmla="*/ 1276356 h 1547290"/>
              <a:gd name="connsiteX83" fmla="*/ 4385734 w 7831667"/>
              <a:gd name="connsiteY83" fmla="*/ 1267890 h 1547290"/>
              <a:gd name="connsiteX84" fmla="*/ 4453467 w 7831667"/>
              <a:gd name="connsiteY84" fmla="*/ 1259423 h 1547290"/>
              <a:gd name="connsiteX85" fmla="*/ 4478867 w 7831667"/>
              <a:gd name="connsiteY85" fmla="*/ 1242490 h 1547290"/>
              <a:gd name="connsiteX86" fmla="*/ 4499429 w 7831667"/>
              <a:gd name="connsiteY86" fmla="*/ 1174152 h 1547290"/>
              <a:gd name="connsiteX87" fmla="*/ 4724400 w 7831667"/>
              <a:gd name="connsiteY87" fmla="*/ 1077995 h 1547290"/>
              <a:gd name="connsiteX88" fmla="*/ 4989891 w 7831667"/>
              <a:gd name="connsiteY88" fmla="*/ 878423 h 1547290"/>
              <a:gd name="connsiteX89" fmla="*/ 5046134 w 7831667"/>
              <a:gd name="connsiteY89" fmla="*/ 886890 h 1547290"/>
              <a:gd name="connsiteX90" fmla="*/ 5096934 w 7831667"/>
              <a:gd name="connsiteY90" fmla="*/ 819156 h 1547290"/>
              <a:gd name="connsiteX91" fmla="*/ 5122334 w 7831667"/>
              <a:gd name="connsiteY91" fmla="*/ 776823 h 1547290"/>
              <a:gd name="connsiteX92" fmla="*/ 5173134 w 7831667"/>
              <a:gd name="connsiteY92" fmla="*/ 726023 h 1547290"/>
              <a:gd name="connsiteX93" fmla="*/ 5207000 w 7831667"/>
              <a:gd name="connsiteY93" fmla="*/ 666756 h 1547290"/>
              <a:gd name="connsiteX94" fmla="*/ 5266267 w 7831667"/>
              <a:gd name="connsiteY94" fmla="*/ 565156 h 1547290"/>
              <a:gd name="connsiteX95" fmla="*/ 5520267 w 7831667"/>
              <a:gd name="connsiteY95" fmla="*/ 218023 h 1547290"/>
              <a:gd name="connsiteX96" fmla="*/ 5617634 w 7831667"/>
              <a:gd name="connsiteY96" fmla="*/ 78323 h 1547290"/>
              <a:gd name="connsiteX97" fmla="*/ 5670248 w 7831667"/>
              <a:gd name="connsiteY97" fmla="*/ 52923 h 1547290"/>
              <a:gd name="connsiteX98" fmla="*/ 5833534 w 7831667"/>
              <a:gd name="connsiteY98" fmla="*/ 6356 h 1547290"/>
              <a:gd name="connsiteX99" fmla="*/ 5952067 w 7831667"/>
              <a:gd name="connsiteY99" fmla="*/ 14823 h 1547290"/>
              <a:gd name="connsiteX100" fmla="*/ 6082091 w 7831667"/>
              <a:gd name="connsiteY100" fmla="*/ 137590 h 1547290"/>
              <a:gd name="connsiteX101" fmla="*/ 6544734 w 7831667"/>
              <a:gd name="connsiteY101" fmla="*/ 483513 h 1547290"/>
              <a:gd name="connsiteX102" fmla="*/ 6869491 w 7831667"/>
              <a:gd name="connsiteY102" fmla="*/ 705461 h 1547290"/>
              <a:gd name="connsiteX103" fmla="*/ 6993467 w 7831667"/>
              <a:gd name="connsiteY103" fmla="*/ 597209 h 1547290"/>
              <a:gd name="connsiteX104" fmla="*/ 7103534 w 7831667"/>
              <a:gd name="connsiteY104" fmla="*/ 531290 h 1547290"/>
              <a:gd name="connsiteX105" fmla="*/ 7190015 w 7831667"/>
              <a:gd name="connsiteY105" fmla="*/ 559713 h 1547290"/>
              <a:gd name="connsiteX106" fmla="*/ 7335763 w 7831667"/>
              <a:gd name="connsiteY106" fmla="*/ 487747 h 1547290"/>
              <a:gd name="connsiteX107" fmla="*/ 7577667 w 7831667"/>
              <a:gd name="connsiteY107" fmla="*/ 709090 h 1547290"/>
              <a:gd name="connsiteX108" fmla="*/ 7586134 w 7831667"/>
              <a:gd name="connsiteY108" fmla="*/ 751423 h 1547290"/>
              <a:gd name="connsiteX109" fmla="*/ 7628467 w 7831667"/>
              <a:gd name="connsiteY109" fmla="*/ 785290 h 1547290"/>
              <a:gd name="connsiteX110" fmla="*/ 7662334 w 7831667"/>
              <a:gd name="connsiteY110" fmla="*/ 802223 h 1547290"/>
              <a:gd name="connsiteX111" fmla="*/ 7696200 w 7831667"/>
              <a:gd name="connsiteY111" fmla="*/ 827623 h 1547290"/>
              <a:gd name="connsiteX112" fmla="*/ 7730067 w 7831667"/>
              <a:gd name="connsiteY112" fmla="*/ 836090 h 1547290"/>
              <a:gd name="connsiteX113" fmla="*/ 7763934 w 7831667"/>
              <a:gd name="connsiteY113" fmla="*/ 853023 h 1547290"/>
              <a:gd name="connsiteX114" fmla="*/ 7814734 w 7831667"/>
              <a:gd name="connsiteY114" fmla="*/ 903823 h 1547290"/>
              <a:gd name="connsiteX115" fmla="*/ 7831667 w 7831667"/>
              <a:gd name="connsiteY115" fmla="*/ 9292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730067 w 7853439"/>
              <a:gd name="connsiteY112" fmla="*/ 836090 h 1547290"/>
              <a:gd name="connsiteX113" fmla="*/ 7763934 w 7853439"/>
              <a:gd name="connsiteY113" fmla="*/ 853023 h 1547290"/>
              <a:gd name="connsiteX114" fmla="*/ 7814734 w 7853439"/>
              <a:gd name="connsiteY114" fmla="*/ 903823 h 1547290"/>
              <a:gd name="connsiteX115" fmla="*/ 7853439 w 7853439"/>
              <a:gd name="connsiteY115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730067 w 7853439"/>
              <a:gd name="connsiteY112" fmla="*/ 836090 h 1547290"/>
              <a:gd name="connsiteX113" fmla="*/ 7763934 w 7853439"/>
              <a:gd name="connsiteY113" fmla="*/ 853023 h 1547290"/>
              <a:gd name="connsiteX114" fmla="*/ 7853439 w 7853439"/>
              <a:gd name="connsiteY114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730067 w 7853439"/>
              <a:gd name="connsiteY112" fmla="*/ 836090 h 1547290"/>
              <a:gd name="connsiteX113" fmla="*/ 7853439 w 7853439"/>
              <a:gd name="connsiteY113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28467 w 7853439"/>
              <a:gd name="connsiteY109" fmla="*/ 785290 h 1547290"/>
              <a:gd name="connsiteX110" fmla="*/ 7662334 w 7853439"/>
              <a:gd name="connsiteY110" fmla="*/ 802223 h 1547290"/>
              <a:gd name="connsiteX111" fmla="*/ 7696200 w 7853439"/>
              <a:gd name="connsiteY111" fmla="*/ 827623 h 1547290"/>
              <a:gd name="connsiteX112" fmla="*/ 7853439 w 7853439"/>
              <a:gd name="connsiteY112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586134 w 7853439"/>
              <a:gd name="connsiteY108" fmla="*/ 751423 h 1547290"/>
              <a:gd name="connsiteX109" fmla="*/ 7662334 w 7853439"/>
              <a:gd name="connsiteY109" fmla="*/ 802223 h 1547290"/>
              <a:gd name="connsiteX110" fmla="*/ 7696200 w 7853439"/>
              <a:gd name="connsiteY110" fmla="*/ 827623 h 1547290"/>
              <a:gd name="connsiteX111" fmla="*/ 7853439 w 7853439"/>
              <a:gd name="connsiteY111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73400 w 7853439"/>
              <a:gd name="connsiteY66" fmla="*/ 1047756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662334 w 7853439"/>
              <a:gd name="connsiteY108" fmla="*/ 802223 h 1547290"/>
              <a:gd name="connsiteX109" fmla="*/ 7696200 w 7853439"/>
              <a:gd name="connsiteY109" fmla="*/ 827623 h 1547290"/>
              <a:gd name="connsiteX110" fmla="*/ 7853439 w 7853439"/>
              <a:gd name="connsiteY110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46186 w 7853439"/>
              <a:gd name="connsiteY66" fmla="*/ 1064085 h 1547290"/>
              <a:gd name="connsiteX67" fmla="*/ 3104849 w 7853439"/>
              <a:gd name="connsiteY67" fmla="*/ 1108233 h 1547290"/>
              <a:gd name="connsiteX68" fmla="*/ 3158068 w 7853439"/>
              <a:gd name="connsiteY68" fmla="*/ 1115490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662334 w 7853439"/>
              <a:gd name="connsiteY108" fmla="*/ 802223 h 1547290"/>
              <a:gd name="connsiteX109" fmla="*/ 7696200 w 7853439"/>
              <a:gd name="connsiteY109" fmla="*/ 827623 h 1547290"/>
              <a:gd name="connsiteX110" fmla="*/ 7853439 w 7853439"/>
              <a:gd name="connsiteY110" fmla="*/ 1005423 h 1547290"/>
              <a:gd name="connsiteX0" fmla="*/ 0 w 7853439"/>
              <a:gd name="connsiteY0" fmla="*/ 1132423 h 1547290"/>
              <a:gd name="connsiteX1" fmla="*/ 8467 w 7853439"/>
              <a:gd name="connsiteY1" fmla="*/ 1174756 h 1547290"/>
              <a:gd name="connsiteX2" fmla="*/ 33867 w 7853439"/>
              <a:gd name="connsiteY2" fmla="*/ 1183223 h 1547290"/>
              <a:gd name="connsiteX3" fmla="*/ 67734 w 7853439"/>
              <a:gd name="connsiteY3" fmla="*/ 1200156 h 1547290"/>
              <a:gd name="connsiteX4" fmla="*/ 84667 w 7853439"/>
              <a:gd name="connsiteY4" fmla="*/ 1217090 h 1547290"/>
              <a:gd name="connsiteX5" fmla="*/ 135467 w 7853439"/>
              <a:gd name="connsiteY5" fmla="*/ 1242490 h 1547290"/>
              <a:gd name="connsiteX6" fmla="*/ 160867 w 7853439"/>
              <a:gd name="connsiteY6" fmla="*/ 1267890 h 1547290"/>
              <a:gd name="connsiteX7" fmla="*/ 194734 w 7853439"/>
              <a:gd name="connsiteY7" fmla="*/ 1284823 h 1547290"/>
              <a:gd name="connsiteX8" fmla="*/ 237067 w 7853439"/>
              <a:gd name="connsiteY8" fmla="*/ 1310223 h 1547290"/>
              <a:gd name="connsiteX9" fmla="*/ 262467 w 7853439"/>
              <a:gd name="connsiteY9" fmla="*/ 1327156 h 1547290"/>
              <a:gd name="connsiteX10" fmla="*/ 313267 w 7853439"/>
              <a:gd name="connsiteY10" fmla="*/ 1344090 h 1547290"/>
              <a:gd name="connsiteX11" fmla="*/ 372534 w 7853439"/>
              <a:gd name="connsiteY11" fmla="*/ 1386423 h 1547290"/>
              <a:gd name="connsiteX12" fmla="*/ 423334 w 7853439"/>
              <a:gd name="connsiteY12" fmla="*/ 1403356 h 1547290"/>
              <a:gd name="connsiteX13" fmla="*/ 448734 w 7853439"/>
              <a:gd name="connsiteY13" fmla="*/ 1411823 h 1547290"/>
              <a:gd name="connsiteX14" fmla="*/ 533400 w 7853439"/>
              <a:gd name="connsiteY14" fmla="*/ 1471090 h 1547290"/>
              <a:gd name="connsiteX15" fmla="*/ 567267 w 7853439"/>
              <a:gd name="connsiteY15" fmla="*/ 1479556 h 1547290"/>
              <a:gd name="connsiteX16" fmla="*/ 592667 w 7853439"/>
              <a:gd name="connsiteY16" fmla="*/ 1488023 h 1547290"/>
              <a:gd name="connsiteX17" fmla="*/ 677334 w 7853439"/>
              <a:gd name="connsiteY17" fmla="*/ 1504956 h 1547290"/>
              <a:gd name="connsiteX18" fmla="*/ 736600 w 7853439"/>
              <a:gd name="connsiteY18" fmla="*/ 1521890 h 1547290"/>
              <a:gd name="connsiteX19" fmla="*/ 778934 w 7853439"/>
              <a:gd name="connsiteY19" fmla="*/ 1530356 h 1547290"/>
              <a:gd name="connsiteX20" fmla="*/ 855134 w 7853439"/>
              <a:gd name="connsiteY20" fmla="*/ 1547290 h 1547290"/>
              <a:gd name="connsiteX21" fmla="*/ 1075267 w 7853439"/>
              <a:gd name="connsiteY21" fmla="*/ 1538823 h 1547290"/>
              <a:gd name="connsiteX22" fmla="*/ 1134534 w 7853439"/>
              <a:gd name="connsiteY22" fmla="*/ 1521890 h 1547290"/>
              <a:gd name="connsiteX23" fmla="*/ 1210734 w 7853439"/>
              <a:gd name="connsiteY23" fmla="*/ 1504956 h 1547290"/>
              <a:gd name="connsiteX24" fmla="*/ 1244600 w 7853439"/>
              <a:gd name="connsiteY24" fmla="*/ 1488023 h 1547290"/>
              <a:gd name="connsiteX25" fmla="*/ 1278467 w 7853439"/>
              <a:gd name="connsiteY25" fmla="*/ 1479556 h 1547290"/>
              <a:gd name="connsiteX26" fmla="*/ 1303867 w 7853439"/>
              <a:gd name="connsiteY26" fmla="*/ 1462623 h 1547290"/>
              <a:gd name="connsiteX27" fmla="*/ 1337734 w 7853439"/>
              <a:gd name="connsiteY27" fmla="*/ 1454156 h 1547290"/>
              <a:gd name="connsiteX28" fmla="*/ 1380067 w 7853439"/>
              <a:gd name="connsiteY28" fmla="*/ 1437223 h 1547290"/>
              <a:gd name="connsiteX29" fmla="*/ 1413934 w 7853439"/>
              <a:gd name="connsiteY29" fmla="*/ 1428756 h 1547290"/>
              <a:gd name="connsiteX30" fmla="*/ 1481667 w 7853439"/>
              <a:gd name="connsiteY30" fmla="*/ 1403356 h 1547290"/>
              <a:gd name="connsiteX31" fmla="*/ 1540934 w 7853439"/>
              <a:gd name="connsiteY31" fmla="*/ 1377956 h 1547290"/>
              <a:gd name="connsiteX32" fmla="*/ 1574800 w 7853439"/>
              <a:gd name="connsiteY32" fmla="*/ 1361023 h 1547290"/>
              <a:gd name="connsiteX33" fmla="*/ 1600200 w 7853439"/>
              <a:gd name="connsiteY33" fmla="*/ 1352556 h 1547290"/>
              <a:gd name="connsiteX34" fmla="*/ 1625600 w 7853439"/>
              <a:gd name="connsiteY34" fmla="*/ 1327156 h 1547290"/>
              <a:gd name="connsiteX35" fmla="*/ 1642534 w 7853439"/>
              <a:gd name="connsiteY35" fmla="*/ 1301756 h 1547290"/>
              <a:gd name="connsiteX36" fmla="*/ 1667934 w 7853439"/>
              <a:gd name="connsiteY36" fmla="*/ 1267890 h 1547290"/>
              <a:gd name="connsiteX37" fmla="*/ 1684867 w 7853439"/>
              <a:gd name="connsiteY37" fmla="*/ 1242490 h 1547290"/>
              <a:gd name="connsiteX38" fmla="*/ 1718734 w 7853439"/>
              <a:gd name="connsiteY38" fmla="*/ 1217090 h 1547290"/>
              <a:gd name="connsiteX39" fmla="*/ 1769534 w 7853439"/>
              <a:gd name="connsiteY39" fmla="*/ 1166290 h 1547290"/>
              <a:gd name="connsiteX40" fmla="*/ 1811867 w 7853439"/>
              <a:gd name="connsiteY40" fmla="*/ 1140890 h 1547290"/>
              <a:gd name="connsiteX41" fmla="*/ 1845734 w 7853439"/>
              <a:gd name="connsiteY41" fmla="*/ 1115490 h 1547290"/>
              <a:gd name="connsiteX42" fmla="*/ 1879600 w 7853439"/>
              <a:gd name="connsiteY42" fmla="*/ 1098556 h 1547290"/>
              <a:gd name="connsiteX43" fmla="*/ 1896534 w 7853439"/>
              <a:gd name="connsiteY43" fmla="*/ 1073156 h 1547290"/>
              <a:gd name="connsiteX44" fmla="*/ 1947334 w 7853439"/>
              <a:gd name="connsiteY44" fmla="*/ 1022356 h 1547290"/>
              <a:gd name="connsiteX45" fmla="*/ 1972734 w 7853439"/>
              <a:gd name="connsiteY45" fmla="*/ 1005423 h 1547290"/>
              <a:gd name="connsiteX46" fmla="*/ 1998134 w 7853439"/>
              <a:gd name="connsiteY46" fmla="*/ 980023 h 1547290"/>
              <a:gd name="connsiteX47" fmla="*/ 2057400 w 7853439"/>
              <a:gd name="connsiteY47" fmla="*/ 937690 h 1547290"/>
              <a:gd name="connsiteX48" fmla="*/ 2125134 w 7853439"/>
              <a:gd name="connsiteY48" fmla="*/ 912290 h 1547290"/>
              <a:gd name="connsiteX49" fmla="*/ 2159000 w 7853439"/>
              <a:gd name="connsiteY49" fmla="*/ 886890 h 1547290"/>
              <a:gd name="connsiteX50" fmla="*/ 2209800 w 7853439"/>
              <a:gd name="connsiteY50" fmla="*/ 869956 h 1547290"/>
              <a:gd name="connsiteX51" fmla="*/ 2243667 w 7853439"/>
              <a:gd name="connsiteY51" fmla="*/ 853023 h 1547290"/>
              <a:gd name="connsiteX52" fmla="*/ 2336800 w 7853439"/>
              <a:gd name="connsiteY52" fmla="*/ 861490 h 1547290"/>
              <a:gd name="connsiteX53" fmla="*/ 2353734 w 7853439"/>
              <a:gd name="connsiteY53" fmla="*/ 878423 h 1547290"/>
              <a:gd name="connsiteX54" fmla="*/ 2404534 w 7853439"/>
              <a:gd name="connsiteY54" fmla="*/ 895356 h 1547290"/>
              <a:gd name="connsiteX55" fmla="*/ 2540000 w 7853439"/>
              <a:gd name="connsiteY55" fmla="*/ 886890 h 1547290"/>
              <a:gd name="connsiteX56" fmla="*/ 2582334 w 7853439"/>
              <a:gd name="connsiteY56" fmla="*/ 878423 h 1547290"/>
              <a:gd name="connsiteX57" fmla="*/ 2616200 w 7853439"/>
              <a:gd name="connsiteY57" fmla="*/ 886890 h 1547290"/>
              <a:gd name="connsiteX58" fmla="*/ 2658534 w 7853439"/>
              <a:gd name="connsiteY58" fmla="*/ 903823 h 1547290"/>
              <a:gd name="connsiteX59" fmla="*/ 2683934 w 7853439"/>
              <a:gd name="connsiteY59" fmla="*/ 912290 h 1547290"/>
              <a:gd name="connsiteX60" fmla="*/ 2734734 w 7853439"/>
              <a:gd name="connsiteY60" fmla="*/ 937690 h 1547290"/>
              <a:gd name="connsiteX61" fmla="*/ 2751667 w 7853439"/>
              <a:gd name="connsiteY61" fmla="*/ 963090 h 1547290"/>
              <a:gd name="connsiteX62" fmla="*/ 2827867 w 7853439"/>
              <a:gd name="connsiteY62" fmla="*/ 988490 h 1547290"/>
              <a:gd name="connsiteX63" fmla="*/ 2853267 w 7853439"/>
              <a:gd name="connsiteY63" fmla="*/ 996956 h 1547290"/>
              <a:gd name="connsiteX64" fmla="*/ 2921000 w 7853439"/>
              <a:gd name="connsiteY64" fmla="*/ 1005423 h 1547290"/>
              <a:gd name="connsiteX65" fmla="*/ 2980267 w 7853439"/>
              <a:gd name="connsiteY65" fmla="*/ 1013890 h 1547290"/>
              <a:gd name="connsiteX66" fmla="*/ 3046186 w 7853439"/>
              <a:gd name="connsiteY66" fmla="*/ 1064085 h 1547290"/>
              <a:gd name="connsiteX67" fmla="*/ 3104849 w 7853439"/>
              <a:gd name="connsiteY67" fmla="*/ 1108233 h 1547290"/>
              <a:gd name="connsiteX68" fmla="*/ 3179839 w 7853439"/>
              <a:gd name="connsiteY68" fmla="*/ 1126376 h 1547290"/>
              <a:gd name="connsiteX69" fmla="*/ 3293534 w 7853439"/>
              <a:gd name="connsiteY69" fmla="*/ 1132423 h 1547290"/>
              <a:gd name="connsiteX70" fmla="*/ 3335867 w 7853439"/>
              <a:gd name="connsiteY70" fmla="*/ 1149356 h 1547290"/>
              <a:gd name="connsiteX71" fmla="*/ 3437467 w 7853439"/>
              <a:gd name="connsiteY71" fmla="*/ 1157823 h 1547290"/>
              <a:gd name="connsiteX72" fmla="*/ 3505200 w 7853439"/>
              <a:gd name="connsiteY72" fmla="*/ 1166290 h 1547290"/>
              <a:gd name="connsiteX73" fmla="*/ 3547534 w 7853439"/>
              <a:gd name="connsiteY73" fmla="*/ 1174756 h 1547290"/>
              <a:gd name="connsiteX74" fmla="*/ 3598334 w 7853439"/>
              <a:gd name="connsiteY74" fmla="*/ 1183223 h 1547290"/>
              <a:gd name="connsiteX75" fmla="*/ 3640667 w 7853439"/>
              <a:gd name="connsiteY75" fmla="*/ 1208623 h 1547290"/>
              <a:gd name="connsiteX76" fmla="*/ 3666067 w 7853439"/>
              <a:gd name="connsiteY76" fmla="*/ 1217090 h 1547290"/>
              <a:gd name="connsiteX77" fmla="*/ 3750734 w 7853439"/>
              <a:gd name="connsiteY77" fmla="*/ 1234023 h 1547290"/>
              <a:gd name="connsiteX78" fmla="*/ 3801534 w 7853439"/>
              <a:gd name="connsiteY78" fmla="*/ 1250956 h 1547290"/>
              <a:gd name="connsiteX79" fmla="*/ 4038600 w 7853439"/>
              <a:gd name="connsiteY79" fmla="*/ 1267890 h 1547290"/>
              <a:gd name="connsiteX80" fmla="*/ 4080934 w 7853439"/>
              <a:gd name="connsiteY80" fmla="*/ 1276356 h 1547290"/>
              <a:gd name="connsiteX81" fmla="*/ 4114800 w 7853439"/>
              <a:gd name="connsiteY81" fmla="*/ 1284823 h 1547290"/>
              <a:gd name="connsiteX82" fmla="*/ 4334934 w 7853439"/>
              <a:gd name="connsiteY82" fmla="*/ 1276356 h 1547290"/>
              <a:gd name="connsiteX83" fmla="*/ 4385734 w 7853439"/>
              <a:gd name="connsiteY83" fmla="*/ 1267890 h 1547290"/>
              <a:gd name="connsiteX84" fmla="*/ 4453467 w 7853439"/>
              <a:gd name="connsiteY84" fmla="*/ 1259423 h 1547290"/>
              <a:gd name="connsiteX85" fmla="*/ 4478867 w 7853439"/>
              <a:gd name="connsiteY85" fmla="*/ 1242490 h 1547290"/>
              <a:gd name="connsiteX86" fmla="*/ 4499429 w 7853439"/>
              <a:gd name="connsiteY86" fmla="*/ 1174152 h 1547290"/>
              <a:gd name="connsiteX87" fmla="*/ 4724400 w 7853439"/>
              <a:gd name="connsiteY87" fmla="*/ 1077995 h 1547290"/>
              <a:gd name="connsiteX88" fmla="*/ 4989891 w 7853439"/>
              <a:gd name="connsiteY88" fmla="*/ 878423 h 1547290"/>
              <a:gd name="connsiteX89" fmla="*/ 5046134 w 7853439"/>
              <a:gd name="connsiteY89" fmla="*/ 886890 h 1547290"/>
              <a:gd name="connsiteX90" fmla="*/ 5096934 w 7853439"/>
              <a:gd name="connsiteY90" fmla="*/ 819156 h 1547290"/>
              <a:gd name="connsiteX91" fmla="*/ 5122334 w 7853439"/>
              <a:gd name="connsiteY91" fmla="*/ 776823 h 1547290"/>
              <a:gd name="connsiteX92" fmla="*/ 5173134 w 7853439"/>
              <a:gd name="connsiteY92" fmla="*/ 726023 h 1547290"/>
              <a:gd name="connsiteX93" fmla="*/ 5207000 w 7853439"/>
              <a:gd name="connsiteY93" fmla="*/ 666756 h 1547290"/>
              <a:gd name="connsiteX94" fmla="*/ 5266267 w 7853439"/>
              <a:gd name="connsiteY94" fmla="*/ 565156 h 1547290"/>
              <a:gd name="connsiteX95" fmla="*/ 5520267 w 7853439"/>
              <a:gd name="connsiteY95" fmla="*/ 218023 h 1547290"/>
              <a:gd name="connsiteX96" fmla="*/ 5617634 w 7853439"/>
              <a:gd name="connsiteY96" fmla="*/ 78323 h 1547290"/>
              <a:gd name="connsiteX97" fmla="*/ 5670248 w 7853439"/>
              <a:gd name="connsiteY97" fmla="*/ 52923 h 1547290"/>
              <a:gd name="connsiteX98" fmla="*/ 5833534 w 7853439"/>
              <a:gd name="connsiteY98" fmla="*/ 6356 h 1547290"/>
              <a:gd name="connsiteX99" fmla="*/ 5952067 w 7853439"/>
              <a:gd name="connsiteY99" fmla="*/ 14823 h 1547290"/>
              <a:gd name="connsiteX100" fmla="*/ 6082091 w 7853439"/>
              <a:gd name="connsiteY100" fmla="*/ 137590 h 1547290"/>
              <a:gd name="connsiteX101" fmla="*/ 6544734 w 7853439"/>
              <a:gd name="connsiteY101" fmla="*/ 483513 h 1547290"/>
              <a:gd name="connsiteX102" fmla="*/ 6869491 w 7853439"/>
              <a:gd name="connsiteY102" fmla="*/ 705461 h 1547290"/>
              <a:gd name="connsiteX103" fmla="*/ 6993467 w 7853439"/>
              <a:gd name="connsiteY103" fmla="*/ 597209 h 1547290"/>
              <a:gd name="connsiteX104" fmla="*/ 7103534 w 7853439"/>
              <a:gd name="connsiteY104" fmla="*/ 531290 h 1547290"/>
              <a:gd name="connsiteX105" fmla="*/ 7190015 w 7853439"/>
              <a:gd name="connsiteY105" fmla="*/ 559713 h 1547290"/>
              <a:gd name="connsiteX106" fmla="*/ 7335763 w 7853439"/>
              <a:gd name="connsiteY106" fmla="*/ 487747 h 1547290"/>
              <a:gd name="connsiteX107" fmla="*/ 7577667 w 7853439"/>
              <a:gd name="connsiteY107" fmla="*/ 709090 h 1547290"/>
              <a:gd name="connsiteX108" fmla="*/ 7662334 w 7853439"/>
              <a:gd name="connsiteY108" fmla="*/ 802223 h 1547290"/>
              <a:gd name="connsiteX109" fmla="*/ 7696200 w 7853439"/>
              <a:gd name="connsiteY109" fmla="*/ 827623 h 1547290"/>
              <a:gd name="connsiteX110" fmla="*/ 7853439 w 7853439"/>
              <a:gd name="connsiteY110" fmla="*/ 1005423 h 1547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7853439" h="1547290">
                <a:moveTo>
                  <a:pt x="0" y="1132423"/>
                </a:moveTo>
                <a:cubicBezTo>
                  <a:pt x="2822" y="1146534"/>
                  <a:pt x="485" y="1162782"/>
                  <a:pt x="8467" y="1174756"/>
                </a:cubicBezTo>
                <a:cubicBezTo>
                  <a:pt x="13418" y="1182182"/>
                  <a:pt x="25664" y="1179707"/>
                  <a:pt x="33867" y="1183223"/>
                </a:cubicBezTo>
                <a:cubicBezTo>
                  <a:pt x="45468" y="1188195"/>
                  <a:pt x="56445" y="1194512"/>
                  <a:pt x="67734" y="1200156"/>
                </a:cubicBezTo>
                <a:cubicBezTo>
                  <a:pt x="73378" y="1205801"/>
                  <a:pt x="77822" y="1212983"/>
                  <a:pt x="84667" y="1217090"/>
                </a:cubicBezTo>
                <a:cubicBezTo>
                  <a:pt x="139224" y="1249824"/>
                  <a:pt x="80404" y="1196603"/>
                  <a:pt x="135467" y="1242490"/>
                </a:cubicBezTo>
                <a:cubicBezTo>
                  <a:pt x="144665" y="1250155"/>
                  <a:pt x="151124" y="1260931"/>
                  <a:pt x="160867" y="1267890"/>
                </a:cubicBezTo>
                <a:cubicBezTo>
                  <a:pt x="171138" y="1275226"/>
                  <a:pt x="183701" y="1278694"/>
                  <a:pt x="194734" y="1284823"/>
                </a:cubicBezTo>
                <a:cubicBezTo>
                  <a:pt x="209119" y="1292815"/>
                  <a:pt x="223112" y="1301501"/>
                  <a:pt x="237067" y="1310223"/>
                </a:cubicBezTo>
                <a:cubicBezTo>
                  <a:pt x="245696" y="1315616"/>
                  <a:pt x="253168" y="1323023"/>
                  <a:pt x="262467" y="1327156"/>
                </a:cubicBezTo>
                <a:cubicBezTo>
                  <a:pt x="278778" y="1334405"/>
                  <a:pt x="296334" y="1338445"/>
                  <a:pt x="313267" y="1344090"/>
                </a:cubicBezTo>
                <a:cubicBezTo>
                  <a:pt x="317816" y="1347502"/>
                  <a:pt x="362404" y="1381921"/>
                  <a:pt x="372534" y="1386423"/>
                </a:cubicBezTo>
                <a:cubicBezTo>
                  <a:pt x="388845" y="1393672"/>
                  <a:pt x="406401" y="1397712"/>
                  <a:pt x="423334" y="1403356"/>
                </a:cubicBezTo>
                <a:lnTo>
                  <a:pt x="448734" y="1411823"/>
                </a:lnTo>
                <a:cubicBezTo>
                  <a:pt x="462745" y="1422331"/>
                  <a:pt x="522976" y="1468484"/>
                  <a:pt x="533400" y="1471090"/>
                </a:cubicBezTo>
                <a:cubicBezTo>
                  <a:pt x="544689" y="1473912"/>
                  <a:pt x="556078" y="1476359"/>
                  <a:pt x="567267" y="1479556"/>
                </a:cubicBezTo>
                <a:cubicBezTo>
                  <a:pt x="575848" y="1482008"/>
                  <a:pt x="583971" y="1486016"/>
                  <a:pt x="592667" y="1488023"/>
                </a:cubicBezTo>
                <a:cubicBezTo>
                  <a:pt x="620711" y="1494495"/>
                  <a:pt x="650030" y="1495854"/>
                  <a:pt x="677334" y="1504956"/>
                </a:cubicBezTo>
                <a:cubicBezTo>
                  <a:pt x="705615" y="1514383"/>
                  <a:pt x="704713" y="1514804"/>
                  <a:pt x="736600" y="1521890"/>
                </a:cubicBezTo>
                <a:cubicBezTo>
                  <a:pt x="750648" y="1525012"/>
                  <a:pt x="764886" y="1527234"/>
                  <a:pt x="778934" y="1530356"/>
                </a:cubicBezTo>
                <a:cubicBezTo>
                  <a:pt x="886611" y="1554284"/>
                  <a:pt x="727372" y="1521737"/>
                  <a:pt x="855134" y="1547290"/>
                </a:cubicBezTo>
                <a:cubicBezTo>
                  <a:pt x="928512" y="1544468"/>
                  <a:pt x="1001998" y="1543708"/>
                  <a:pt x="1075267" y="1538823"/>
                </a:cubicBezTo>
                <a:cubicBezTo>
                  <a:pt x="1092522" y="1537673"/>
                  <a:pt x="1117475" y="1526764"/>
                  <a:pt x="1134534" y="1521890"/>
                </a:cubicBezTo>
                <a:cubicBezTo>
                  <a:pt x="1162441" y="1513917"/>
                  <a:pt x="1181626" y="1510778"/>
                  <a:pt x="1210734" y="1504956"/>
                </a:cubicBezTo>
                <a:cubicBezTo>
                  <a:pt x="1222023" y="1499312"/>
                  <a:pt x="1232782" y="1492455"/>
                  <a:pt x="1244600" y="1488023"/>
                </a:cubicBezTo>
                <a:cubicBezTo>
                  <a:pt x="1255496" y="1483937"/>
                  <a:pt x="1267771" y="1484140"/>
                  <a:pt x="1278467" y="1479556"/>
                </a:cubicBezTo>
                <a:cubicBezTo>
                  <a:pt x="1287820" y="1475548"/>
                  <a:pt x="1294514" y="1466631"/>
                  <a:pt x="1303867" y="1462623"/>
                </a:cubicBezTo>
                <a:cubicBezTo>
                  <a:pt x="1314563" y="1458039"/>
                  <a:pt x="1326695" y="1457836"/>
                  <a:pt x="1337734" y="1454156"/>
                </a:cubicBezTo>
                <a:cubicBezTo>
                  <a:pt x="1352152" y="1449350"/>
                  <a:pt x="1365649" y="1442029"/>
                  <a:pt x="1380067" y="1437223"/>
                </a:cubicBezTo>
                <a:cubicBezTo>
                  <a:pt x="1391106" y="1433543"/>
                  <a:pt x="1403038" y="1432842"/>
                  <a:pt x="1413934" y="1428756"/>
                </a:cubicBezTo>
                <a:cubicBezTo>
                  <a:pt x="1502483" y="1395550"/>
                  <a:pt x="1394735" y="1425090"/>
                  <a:pt x="1481667" y="1403356"/>
                </a:cubicBezTo>
                <a:cubicBezTo>
                  <a:pt x="1533141" y="1369041"/>
                  <a:pt x="1478450" y="1401388"/>
                  <a:pt x="1540934" y="1377956"/>
                </a:cubicBezTo>
                <a:cubicBezTo>
                  <a:pt x="1552752" y="1373524"/>
                  <a:pt x="1563199" y="1365995"/>
                  <a:pt x="1574800" y="1361023"/>
                </a:cubicBezTo>
                <a:cubicBezTo>
                  <a:pt x="1583003" y="1357507"/>
                  <a:pt x="1591733" y="1355378"/>
                  <a:pt x="1600200" y="1352556"/>
                </a:cubicBezTo>
                <a:cubicBezTo>
                  <a:pt x="1608667" y="1344089"/>
                  <a:pt x="1617935" y="1336354"/>
                  <a:pt x="1625600" y="1327156"/>
                </a:cubicBezTo>
                <a:cubicBezTo>
                  <a:pt x="1632114" y="1319339"/>
                  <a:pt x="1636619" y="1310036"/>
                  <a:pt x="1642534" y="1301756"/>
                </a:cubicBezTo>
                <a:cubicBezTo>
                  <a:pt x="1650736" y="1290274"/>
                  <a:pt x="1659732" y="1279373"/>
                  <a:pt x="1667934" y="1267890"/>
                </a:cubicBezTo>
                <a:cubicBezTo>
                  <a:pt x="1673848" y="1259610"/>
                  <a:pt x="1677672" y="1249685"/>
                  <a:pt x="1684867" y="1242490"/>
                </a:cubicBezTo>
                <a:cubicBezTo>
                  <a:pt x="1694845" y="1232512"/>
                  <a:pt x="1707445" y="1225557"/>
                  <a:pt x="1718734" y="1217090"/>
                </a:cubicBezTo>
                <a:cubicBezTo>
                  <a:pt x="1747282" y="1174268"/>
                  <a:pt x="1722274" y="1205674"/>
                  <a:pt x="1769534" y="1166290"/>
                </a:cubicBezTo>
                <a:cubicBezTo>
                  <a:pt x="1800527" y="1140462"/>
                  <a:pt x="1770230" y="1154768"/>
                  <a:pt x="1811867" y="1140890"/>
                </a:cubicBezTo>
                <a:cubicBezTo>
                  <a:pt x="1823156" y="1132423"/>
                  <a:pt x="1833768" y="1122969"/>
                  <a:pt x="1845734" y="1115490"/>
                </a:cubicBezTo>
                <a:cubicBezTo>
                  <a:pt x="1856437" y="1108801"/>
                  <a:pt x="1869904" y="1106636"/>
                  <a:pt x="1879600" y="1098556"/>
                </a:cubicBezTo>
                <a:cubicBezTo>
                  <a:pt x="1887417" y="1092042"/>
                  <a:pt x="1889774" y="1080761"/>
                  <a:pt x="1896534" y="1073156"/>
                </a:cubicBezTo>
                <a:cubicBezTo>
                  <a:pt x="1912444" y="1055258"/>
                  <a:pt x="1927408" y="1035639"/>
                  <a:pt x="1947334" y="1022356"/>
                </a:cubicBezTo>
                <a:cubicBezTo>
                  <a:pt x="1955801" y="1016712"/>
                  <a:pt x="1964917" y="1011937"/>
                  <a:pt x="1972734" y="1005423"/>
                </a:cubicBezTo>
                <a:cubicBezTo>
                  <a:pt x="1981932" y="997758"/>
                  <a:pt x="1989043" y="987815"/>
                  <a:pt x="1998134" y="980023"/>
                </a:cubicBezTo>
                <a:cubicBezTo>
                  <a:pt x="2003506" y="975418"/>
                  <a:pt x="2046676" y="943052"/>
                  <a:pt x="2057400" y="937690"/>
                </a:cubicBezTo>
                <a:cubicBezTo>
                  <a:pt x="2077656" y="927562"/>
                  <a:pt x="2103146" y="919619"/>
                  <a:pt x="2125134" y="912290"/>
                </a:cubicBezTo>
                <a:cubicBezTo>
                  <a:pt x="2136423" y="903823"/>
                  <a:pt x="2146379" y="893201"/>
                  <a:pt x="2159000" y="886890"/>
                </a:cubicBezTo>
                <a:cubicBezTo>
                  <a:pt x="2174965" y="878907"/>
                  <a:pt x="2193835" y="877938"/>
                  <a:pt x="2209800" y="869956"/>
                </a:cubicBezTo>
                <a:lnTo>
                  <a:pt x="2243667" y="853023"/>
                </a:lnTo>
                <a:cubicBezTo>
                  <a:pt x="2274711" y="855845"/>
                  <a:pt x="2306426" y="854481"/>
                  <a:pt x="2336800" y="861490"/>
                </a:cubicBezTo>
                <a:cubicBezTo>
                  <a:pt x="2344578" y="863285"/>
                  <a:pt x="2346594" y="874853"/>
                  <a:pt x="2353734" y="878423"/>
                </a:cubicBezTo>
                <a:cubicBezTo>
                  <a:pt x="2369699" y="886405"/>
                  <a:pt x="2404534" y="895356"/>
                  <a:pt x="2404534" y="895356"/>
                </a:cubicBezTo>
                <a:cubicBezTo>
                  <a:pt x="2449689" y="892534"/>
                  <a:pt x="2494960" y="891179"/>
                  <a:pt x="2540000" y="886890"/>
                </a:cubicBezTo>
                <a:cubicBezTo>
                  <a:pt x="2554326" y="885526"/>
                  <a:pt x="2567943" y="878423"/>
                  <a:pt x="2582334" y="878423"/>
                </a:cubicBezTo>
                <a:cubicBezTo>
                  <a:pt x="2593970" y="878423"/>
                  <a:pt x="2605161" y="883210"/>
                  <a:pt x="2616200" y="886890"/>
                </a:cubicBezTo>
                <a:cubicBezTo>
                  <a:pt x="2630618" y="891696"/>
                  <a:pt x="2644303" y="898487"/>
                  <a:pt x="2658534" y="903823"/>
                </a:cubicBezTo>
                <a:cubicBezTo>
                  <a:pt x="2666890" y="906957"/>
                  <a:pt x="2675952" y="908299"/>
                  <a:pt x="2683934" y="912290"/>
                </a:cubicBezTo>
                <a:cubicBezTo>
                  <a:pt x="2749586" y="945116"/>
                  <a:pt x="2670890" y="916408"/>
                  <a:pt x="2734734" y="937690"/>
                </a:cubicBezTo>
                <a:cubicBezTo>
                  <a:pt x="2740378" y="946157"/>
                  <a:pt x="2744472" y="955895"/>
                  <a:pt x="2751667" y="963090"/>
                </a:cubicBezTo>
                <a:cubicBezTo>
                  <a:pt x="2776918" y="988341"/>
                  <a:pt x="2791379" y="980382"/>
                  <a:pt x="2827867" y="988490"/>
                </a:cubicBezTo>
                <a:cubicBezTo>
                  <a:pt x="2836579" y="990426"/>
                  <a:pt x="2844486" y="995360"/>
                  <a:pt x="2853267" y="996956"/>
                </a:cubicBezTo>
                <a:cubicBezTo>
                  <a:pt x="2875653" y="1001026"/>
                  <a:pt x="2898446" y="1002416"/>
                  <a:pt x="2921000" y="1005423"/>
                </a:cubicBezTo>
                <a:lnTo>
                  <a:pt x="2980267" y="1013890"/>
                </a:lnTo>
                <a:cubicBezTo>
                  <a:pt x="3045046" y="1046278"/>
                  <a:pt x="3025422" y="1048361"/>
                  <a:pt x="3046186" y="1064085"/>
                </a:cubicBezTo>
                <a:cubicBezTo>
                  <a:pt x="3066950" y="1079809"/>
                  <a:pt x="3082573" y="1097851"/>
                  <a:pt x="3104849" y="1108233"/>
                </a:cubicBezTo>
                <a:cubicBezTo>
                  <a:pt x="3127125" y="1118615"/>
                  <a:pt x="3148392" y="1122344"/>
                  <a:pt x="3179839" y="1126376"/>
                </a:cubicBezTo>
                <a:cubicBezTo>
                  <a:pt x="3211287" y="1130408"/>
                  <a:pt x="3267529" y="1128593"/>
                  <a:pt x="3293534" y="1132423"/>
                </a:cubicBezTo>
                <a:cubicBezTo>
                  <a:pt x="3319539" y="1136253"/>
                  <a:pt x="3320900" y="1146715"/>
                  <a:pt x="3335867" y="1149356"/>
                </a:cubicBezTo>
                <a:cubicBezTo>
                  <a:pt x="3369334" y="1155262"/>
                  <a:pt x="3403652" y="1154441"/>
                  <a:pt x="3437467" y="1157823"/>
                </a:cubicBezTo>
                <a:cubicBezTo>
                  <a:pt x="3460107" y="1160087"/>
                  <a:pt x="3482711" y="1162830"/>
                  <a:pt x="3505200" y="1166290"/>
                </a:cubicBezTo>
                <a:cubicBezTo>
                  <a:pt x="3519423" y="1168478"/>
                  <a:pt x="3533375" y="1172182"/>
                  <a:pt x="3547534" y="1174756"/>
                </a:cubicBezTo>
                <a:cubicBezTo>
                  <a:pt x="3564424" y="1177827"/>
                  <a:pt x="3581401" y="1180401"/>
                  <a:pt x="3598334" y="1183223"/>
                </a:cubicBezTo>
                <a:cubicBezTo>
                  <a:pt x="3612445" y="1191690"/>
                  <a:pt x="3625948" y="1201264"/>
                  <a:pt x="3640667" y="1208623"/>
                </a:cubicBezTo>
                <a:cubicBezTo>
                  <a:pt x="3648649" y="1212614"/>
                  <a:pt x="3657371" y="1215083"/>
                  <a:pt x="3666067" y="1217090"/>
                </a:cubicBezTo>
                <a:cubicBezTo>
                  <a:pt x="3694111" y="1223562"/>
                  <a:pt x="3723430" y="1224922"/>
                  <a:pt x="3750734" y="1234023"/>
                </a:cubicBezTo>
                <a:lnTo>
                  <a:pt x="3801534" y="1250956"/>
                </a:lnTo>
                <a:cubicBezTo>
                  <a:pt x="3893926" y="1281753"/>
                  <a:pt x="3817984" y="1259065"/>
                  <a:pt x="4038600" y="1267890"/>
                </a:cubicBezTo>
                <a:cubicBezTo>
                  <a:pt x="4052711" y="1270712"/>
                  <a:pt x="4066886" y="1273234"/>
                  <a:pt x="4080934" y="1276356"/>
                </a:cubicBezTo>
                <a:cubicBezTo>
                  <a:pt x="4092293" y="1278880"/>
                  <a:pt x="4103164" y="1284823"/>
                  <a:pt x="4114800" y="1284823"/>
                </a:cubicBezTo>
                <a:cubicBezTo>
                  <a:pt x="4188232" y="1284823"/>
                  <a:pt x="4261556" y="1279178"/>
                  <a:pt x="4334934" y="1276356"/>
                </a:cubicBezTo>
                <a:cubicBezTo>
                  <a:pt x="4351867" y="1273534"/>
                  <a:pt x="4368740" y="1270318"/>
                  <a:pt x="4385734" y="1267890"/>
                </a:cubicBezTo>
                <a:cubicBezTo>
                  <a:pt x="4408259" y="1264672"/>
                  <a:pt x="4431515" y="1265410"/>
                  <a:pt x="4453467" y="1259423"/>
                </a:cubicBezTo>
                <a:cubicBezTo>
                  <a:pt x="4463284" y="1256746"/>
                  <a:pt x="4471207" y="1256702"/>
                  <a:pt x="4478867" y="1242490"/>
                </a:cubicBezTo>
                <a:cubicBezTo>
                  <a:pt x="4486527" y="1228278"/>
                  <a:pt x="4458507" y="1201568"/>
                  <a:pt x="4499429" y="1174152"/>
                </a:cubicBezTo>
                <a:cubicBezTo>
                  <a:pt x="4540351" y="1146736"/>
                  <a:pt x="4642656" y="1127283"/>
                  <a:pt x="4724400" y="1077995"/>
                </a:cubicBezTo>
                <a:cubicBezTo>
                  <a:pt x="4806144" y="1028707"/>
                  <a:pt x="4936269" y="910274"/>
                  <a:pt x="4989891" y="878423"/>
                </a:cubicBezTo>
                <a:cubicBezTo>
                  <a:pt x="5043513" y="846572"/>
                  <a:pt x="5028294" y="896768"/>
                  <a:pt x="5046134" y="886890"/>
                </a:cubicBezTo>
                <a:cubicBezTo>
                  <a:pt x="5063974" y="877012"/>
                  <a:pt x="5082414" y="843356"/>
                  <a:pt x="5096934" y="819156"/>
                </a:cubicBezTo>
                <a:cubicBezTo>
                  <a:pt x="5105401" y="805045"/>
                  <a:pt x="5111913" y="789559"/>
                  <a:pt x="5122334" y="776823"/>
                </a:cubicBezTo>
                <a:cubicBezTo>
                  <a:pt x="5137498" y="758289"/>
                  <a:pt x="5173134" y="726023"/>
                  <a:pt x="5173134" y="726023"/>
                </a:cubicBezTo>
                <a:cubicBezTo>
                  <a:pt x="5235186" y="570891"/>
                  <a:pt x="5157180" y="749790"/>
                  <a:pt x="5207000" y="666756"/>
                </a:cubicBezTo>
                <a:cubicBezTo>
                  <a:pt x="5298617" y="514060"/>
                  <a:pt x="5196966" y="659658"/>
                  <a:pt x="5266267" y="565156"/>
                </a:cubicBezTo>
                <a:cubicBezTo>
                  <a:pt x="5351056" y="449535"/>
                  <a:pt x="5405564" y="304051"/>
                  <a:pt x="5520267" y="218023"/>
                </a:cubicBezTo>
                <a:lnTo>
                  <a:pt x="5617634" y="78323"/>
                </a:lnTo>
                <a:cubicBezTo>
                  <a:pt x="5625697" y="63506"/>
                  <a:pt x="5634265" y="64917"/>
                  <a:pt x="5670248" y="52923"/>
                </a:cubicBezTo>
                <a:cubicBezTo>
                  <a:pt x="5706231" y="40929"/>
                  <a:pt x="5786564" y="12706"/>
                  <a:pt x="5833534" y="6356"/>
                </a:cubicBezTo>
                <a:cubicBezTo>
                  <a:pt x="5880504" y="6"/>
                  <a:pt x="5910641" y="-7049"/>
                  <a:pt x="5952067" y="14823"/>
                </a:cubicBezTo>
                <a:cubicBezTo>
                  <a:pt x="5993493" y="36695"/>
                  <a:pt x="5983313" y="59475"/>
                  <a:pt x="6082091" y="137590"/>
                </a:cubicBezTo>
                <a:cubicBezTo>
                  <a:pt x="6180869" y="215705"/>
                  <a:pt x="6413501" y="388868"/>
                  <a:pt x="6544734" y="483513"/>
                </a:cubicBezTo>
                <a:cubicBezTo>
                  <a:pt x="6675967" y="578158"/>
                  <a:pt x="6794702" y="686512"/>
                  <a:pt x="6869491" y="705461"/>
                </a:cubicBezTo>
                <a:cubicBezTo>
                  <a:pt x="6944280" y="724410"/>
                  <a:pt x="6979356" y="591565"/>
                  <a:pt x="6993467" y="597209"/>
                </a:cubicBezTo>
                <a:cubicBezTo>
                  <a:pt x="7055556" y="591565"/>
                  <a:pt x="7070776" y="537539"/>
                  <a:pt x="7103534" y="531290"/>
                </a:cubicBezTo>
                <a:cubicBezTo>
                  <a:pt x="7136292" y="525041"/>
                  <a:pt x="7151310" y="566970"/>
                  <a:pt x="7190015" y="559713"/>
                </a:cubicBezTo>
                <a:cubicBezTo>
                  <a:pt x="7228720" y="552456"/>
                  <a:pt x="7242928" y="506312"/>
                  <a:pt x="7335763" y="487747"/>
                </a:cubicBezTo>
                <a:cubicBezTo>
                  <a:pt x="7400372" y="512643"/>
                  <a:pt x="7523239" y="656677"/>
                  <a:pt x="7577667" y="709090"/>
                </a:cubicBezTo>
                <a:cubicBezTo>
                  <a:pt x="7632096" y="761503"/>
                  <a:pt x="7642579" y="782468"/>
                  <a:pt x="7662334" y="802223"/>
                </a:cubicBezTo>
                <a:cubicBezTo>
                  <a:pt x="7682089" y="821978"/>
                  <a:pt x="7664349" y="793756"/>
                  <a:pt x="7696200" y="827623"/>
                </a:cubicBezTo>
                <a:cubicBezTo>
                  <a:pt x="7728051" y="861490"/>
                  <a:pt x="7820681" y="968381"/>
                  <a:pt x="7853439" y="1005423"/>
                </a:cubicBezTo>
              </a:path>
            </a:pathLst>
          </a:cu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13D3E96-A113-4585-82AE-632689BE8701}"/>
              </a:ext>
            </a:extLst>
          </p:cNvPr>
          <p:cNvCxnSpPr>
            <a:cxnSpLocks/>
          </p:cNvCxnSpPr>
          <p:nvPr/>
        </p:nvCxnSpPr>
        <p:spPr>
          <a:xfrm flipV="1">
            <a:off x="1961193" y="2373086"/>
            <a:ext cx="0" cy="320340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row: Down 9">
            <a:extLst>
              <a:ext uri="{FF2B5EF4-FFF2-40B4-BE49-F238E27FC236}">
                <a16:creationId xmlns:a16="http://schemas.microsoft.com/office/drawing/2014/main" id="{1184A9A8-309A-4713-9412-63939A409269}"/>
              </a:ext>
            </a:extLst>
          </p:cNvPr>
          <p:cNvSpPr/>
          <p:nvPr/>
        </p:nvSpPr>
        <p:spPr>
          <a:xfrm rot="10800000">
            <a:off x="7628437" y="2778902"/>
            <a:ext cx="423333" cy="1029534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4" name="Picture 13" descr="Chart&#10;&#10;Description automatically generated">
            <a:extLst>
              <a:ext uri="{FF2B5EF4-FFF2-40B4-BE49-F238E27FC236}">
                <a16:creationId xmlns:a16="http://schemas.microsoft.com/office/drawing/2014/main" id="{E39E5996-2388-411F-9506-A19B7B6551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9" t="84423" r="7396" b="5944"/>
          <a:stretch/>
        </p:blipFill>
        <p:spPr>
          <a:xfrm>
            <a:off x="1426001" y="5533292"/>
            <a:ext cx="8686800" cy="544534"/>
          </a:xfrm>
          <a:prstGeom prst="rect">
            <a:avLst/>
          </a:prstGeom>
        </p:spPr>
      </p:pic>
      <p:pic>
        <p:nvPicPr>
          <p:cNvPr id="25602" name="Picture 2" descr="See the source image">
            <a:extLst>
              <a:ext uri="{FF2B5EF4-FFF2-40B4-BE49-F238E27FC236}">
                <a16:creationId xmlns:a16="http://schemas.microsoft.com/office/drawing/2014/main" id="{2EBA362D-EAEE-4D16-8F04-3CBC3A6D04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81"/>
          <a:stretch/>
        </p:blipFill>
        <p:spPr bwMode="auto">
          <a:xfrm>
            <a:off x="1219200" y="3808448"/>
            <a:ext cx="9546796" cy="206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See the source image">
            <a:extLst>
              <a:ext uri="{FF2B5EF4-FFF2-40B4-BE49-F238E27FC236}">
                <a16:creationId xmlns:a16="http://schemas.microsoft.com/office/drawing/2014/main" id="{FB330ED8-3375-4E00-97B9-7EB086AD1A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602"/>
          <a:stretch/>
        </p:blipFill>
        <p:spPr bwMode="auto">
          <a:xfrm>
            <a:off x="1669447" y="5872855"/>
            <a:ext cx="9753600" cy="77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7D0EB0E-9E76-4405-946F-8B9CDE96CD7D}"/>
              </a:ext>
            </a:extLst>
          </p:cNvPr>
          <p:cNvSpPr txBox="1"/>
          <p:nvPr/>
        </p:nvSpPr>
        <p:spPr>
          <a:xfrm>
            <a:off x="9281507" y="2919048"/>
            <a:ext cx="472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/>
              <a:t>Consommation avec V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92E9B4-8160-464C-8CAA-9653C7322547}"/>
              </a:ext>
            </a:extLst>
          </p:cNvPr>
          <p:cNvCxnSpPr>
            <a:cxnSpLocks/>
          </p:cNvCxnSpPr>
          <p:nvPr/>
        </p:nvCxnSpPr>
        <p:spPr>
          <a:xfrm>
            <a:off x="9035974" y="3057546"/>
            <a:ext cx="245533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8D91C618-9A8E-4AB5-BB54-342D8433B1C5}"/>
              </a:ext>
            </a:extLst>
          </p:cNvPr>
          <p:cNvSpPr txBox="1"/>
          <p:nvPr/>
        </p:nvSpPr>
        <p:spPr>
          <a:xfrm>
            <a:off x="694798" y="4047544"/>
            <a:ext cx="30262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llustration</a:t>
            </a:r>
          </a:p>
        </p:txBody>
      </p:sp>
    </p:spTree>
    <p:extLst>
      <p:ext uri="{BB962C8B-B14F-4D97-AF65-F5344CB8AC3E}">
        <p14:creationId xmlns:p14="http://schemas.microsoft.com/office/powerpoint/2010/main" val="3468715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VRj.FJQTCv878u3dMhD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RES_modele_ppt">
  <a:themeElements>
    <a:clrScheme name="ORES">
      <a:dk1>
        <a:srgbClr val="000000"/>
      </a:dk1>
      <a:lt1>
        <a:srgbClr val="FFFFFF"/>
      </a:lt1>
      <a:dk2>
        <a:srgbClr val="1A262F"/>
      </a:dk2>
      <a:lt2>
        <a:srgbClr val="FFFFFF"/>
      </a:lt2>
      <a:accent1>
        <a:srgbClr val="34B4E4"/>
      </a:accent1>
      <a:accent2>
        <a:srgbClr val="FFD300"/>
      </a:accent2>
      <a:accent3>
        <a:srgbClr val="97C00D"/>
      </a:accent3>
      <a:accent4>
        <a:srgbClr val="694994"/>
      </a:accent4>
      <a:accent5>
        <a:srgbClr val="E53075"/>
      </a:accent5>
      <a:accent6>
        <a:srgbClr val="F79646"/>
      </a:accent6>
      <a:hlink>
        <a:srgbClr val="34B4E4"/>
      </a:hlink>
      <a:folHlink>
        <a:srgbClr val="88949B"/>
      </a:folHlink>
    </a:clrScheme>
    <a:fontScheme name="OR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60E0AE1BACDE4DB36AED9BE74BEE86" ma:contentTypeVersion="4" ma:contentTypeDescription="Crée un document." ma:contentTypeScope="" ma:versionID="1cea6f1201d75e91943ab4251e4f7871">
  <xsd:schema xmlns:xsd="http://www.w3.org/2001/XMLSchema" xmlns:xs="http://www.w3.org/2001/XMLSchema" xmlns:p="http://schemas.microsoft.com/office/2006/metadata/properties" xmlns:ns2="f21b82ea-c5db-4272-92e6-1237f7ec6964" xmlns:ns3="a9309b11-e8fc-4053-9ff3-1ea435ea3a9f" targetNamespace="http://schemas.microsoft.com/office/2006/metadata/properties" ma:root="true" ma:fieldsID="2b647b3a70bbef7fb19d699738f45a41" ns2:_="" ns3:_="">
    <xsd:import namespace="f21b82ea-c5db-4272-92e6-1237f7ec6964"/>
    <xsd:import namespace="a9309b11-e8fc-4053-9ff3-1ea435ea3a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1b82ea-c5db-4272-92e6-1237f7ec69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309b11-e8fc-4053-9ff3-1ea435ea3a9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8F1BFBD-5F71-4E44-95BC-379D16D67952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a9309b11-e8fc-4053-9ff3-1ea435ea3a9f"/>
    <ds:schemaRef ds:uri="f21b82ea-c5db-4272-92e6-1237f7ec6964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2DD17A1-03EF-4DD8-9A21-42227D07CC11}">
  <ds:schemaRefs>
    <ds:schemaRef ds:uri="a9309b11-e8fc-4053-9ff3-1ea435ea3a9f"/>
    <ds:schemaRef ds:uri="f21b82ea-c5db-4272-92e6-1237f7ec696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3E659E4-A697-4291-9095-79F4BE271FF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13</Words>
  <Application>Microsoft Office PowerPoint</Application>
  <PresentationFormat>Widescreen</PresentationFormat>
  <Paragraphs>102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Graphik</vt:lpstr>
      <vt:lpstr>Office Theme</vt:lpstr>
      <vt:lpstr>ORES_modele_ppt</vt:lpstr>
      <vt:lpstr>think-cell Slide</vt:lpstr>
      <vt:lpstr>PowerPoint Presentation</vt:lpstr>
      <vt:lpstr>Introduction - Contexte</vt:lpstr>
      <vt:lpstr>Tous les leviers doivent contribuer à la décarbonation du secteur du transport</vt:lpstr>
      <vt:lpstr>PowerPoint Presentation</vt:lpstr>
      <vt:lpstr>Où vont se concentrer les évènements de charge ?</vt:lpstr>
      <vt:lpstr>Effets sur le réseau BT</vt:lpstr>
      <vt:lpstr>Effets sur le réseau BT</vt:lpstr>
      <vt:lpstr>Effets sur le réseau BT</vt:lpstr>
      <vt:lpstr>Effets sur le réseau BT</vt:lpstr>
      <vt:lpstr>Effets sur le réseau BT</vt:lpstr>
      <vt:lpstr>2. Chercher à identifier les zones où la vitesse de la transition énergétique sera la plus rapide</vt:lpstr>
      <vt:lpstr>2. Chercher à identifier les zones où la vitesse de la transition énergétique sera la plus rapide</vt:lpstr>
      <vt:lpstr>Investir de manière optimale au bon endroit au bon mo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gulick David</dc:creator>
  <cp:lastModifiedBy>Vangulick David</cp:lastModifiedBy>
  <cp:revision>46</cp:revision>
  <dcterms:created xsi:type="dcterms:W3CDTF">2022-10-12T15:20:52Z</dcterms:created>
  <dcterms:modified xsi:type="dcterms:W3CDTF">2022-10-20T07:1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60E0AE1BACDE4DB36AED9BE74BEE86</vt:lpwstr>
  </property>
</Properties>
</file>